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notesSlides/notesSlide4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authors.xml" ContentType="application/vnd.ms-powerpoint.authors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>
  <p:sldMasterIdLst>
    <p:sldMasterId id="2147483701" r:id="rId4"/>
    <p:sldMasterId id="2147483753" r:id="rId5"/>
    <p:sldMasterId id="2147483781" r:id="rId6"/>
  </p:sldMasterIdLst>
  <p:notesMasterIdLst>
    <p:notesMasterId r:id="rId23"/>
  </p:notesMasterIdLst>
  <p:handoutMasterIdLst>
    <p:handoutMasterId r:id="rId24"/>
  </p:handoutMasterIdLst>
  <p:sldIdLst>
    <p:sldId id="3561" r:id="rId7"/>
    <p:sldId id="311" r:id="rId8"/>
    <p:sldId id="278" r:id="rId9"/>
    <p:sldId id="3560" r:id="rId10"/>
    <p:sldId id="263" r:id="rId11"/>
    <p:sldId id="282" r:id="rId12"/>
    <p:sldId id="1767" r:id="rId13"/>
    <p:sldId id="1769" r:id="rId14"/>
    <p:sldId id="1782" r:id="rId15"/>
    <p:sldId id="1749" r:id="rId16"/>
    <p:sldId id="3559" r:id="rId17"/>
    <p:sldId id="3562" r:id="rId18"/>
    <p:sldId id="3563" r:id="rId19"/>
    <p:sldId id="410" r:id="rId20"/>
    <p:sldId id="1186" r:id="rId21"/>
    <p:sldId id="1783" r:id="rId22"/>
  </p:sldIdLst>
  <p:sldSz cx="12190413" cy="6859588"/>
  <p:notesSz cx="6858000" cy="9144000"/>
  <p:embeddedFontLst>
    <p:embeddedFont>
      <p:font typeface="Arial Black" panose="020B0604020202020204" pitchFamily="34" charset="0"/>
      <p:bold r:id="rId25"/>
    </p:embeddedFon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Calibri Light" panose="020F0302020204030204" pitchFamily="34" charset="0"/>
      <p:regular r:id="rId30"/>
      <p:italic r:id="rId31"/>
    </p:embeddedFont>
    <p:embeddedFont>
      <p:font typeface="Georgia" panose="02040502050405020303" pitchFamily="18" charset="0"/>
      <p:regular r:id="rId32"/>
      <p:bold r:id="rId33"/>
      <p:italic r:id="rId34"/>
      <p:boldItalic r:id="rId35"/>
    </p:embeddedFont>
    <p:embeddedFont>
      <p:font typeface="Open Sans" panose="020B0606030504020204" pitchFamily="34" charset="0"/>
      <p:regular r:id="rId36"/>
      <p:bold r:id="rId37"/>
      <p:italic r:id="rId38"/>
      <p:boldItalic r:id="rId39"/>
    </p:embeddedFont>
    <p:embeddedFont>
      <p:font typeface="Open Sans ExtraBold" panose="020B0606030504020204" pitchFamily="34" charset="0"/>
      <p:bold r:id="rId40"/>
      <p:italic r:id="rId41"/>
      <p:boldItalic r:id="rId42"/>
    </p:embeddedFont>
    <p:embeddedFont>
      <p:font typeface="Open Sans ExtraBold" panose="020B0606030504020204" pitchFamily="34" charset="0"/>
      <p:bold r:id="rId40"/>
      <p:italic r:id="rId41"/>
      <p:boldItalic r:id="rId42"/>
    </p:embeddedFont>
  </p:embeddedFontLst>
  <p:custDataLst>
    <p:tags r:id="rId43"/>
  </p:custDataLst>
  <p:defaultTextStyle>
    <a:defPPr>
      <a:defRPr lang="en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B04E86-246D-4782-9F4F-064A46A85945}">
          <p14:sldIdLst>
            <p14:sldId id="3561"/>
            <p14:sldId id="311"/>
            <p14:sldId id="278"/>
            <p14:sldId id="3560"/>
            <p14:sldId id="263"/>
            <p14:sldId id="282"/>
            <p14:sldId id="1767"/>
            <p14:sldId id="1769"/>
            <p14:sldId id="1782"/>
            <p14:sldId id="1749"/>
            <p14:sldId id="3559"/>
            <p14:sldId id="3562"/>
            <p14:sldId id="3563"/>
            <p14:sldId id="410"/>
            <p14:sldId id="1186"/>
            <p14:sldId id="1783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02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291">
          <p15:clr>
            <a:srgbClr val="A4A3A4"/>
          </p15:clr>
        </p15:guide>
        <p15:guide id="5" pos="3726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61">
          <p15:clr>
            <a:srgbClr val="A4A3A4"/>
          </p15:clr>
        </p15:guide>
        <p15:guide id="2" orient="horz" pos="5330">
          <p15:clr>
            <a:srgbClr val="A4A3A4"/>
          </p15:clr>
        </p15:guide>
        <p15:guide id="3" pos="234">
          <p15:clr>
            <a:srgbClr val="A4A3A4"/>
          </p15:clr>
        </p15:guide>
        <p15:guide id="4" pos="405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6F54FF-A013-8050-E08E-889CC087154B}" name="Suvipäivikki Mikola" initials="SM" userId="S::suvipaivikki.mikola@oepsupport.fi::d8c4fb59-ca69-4502-9e42-ebf14ddde03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Salervo" initials="MS" lastIdx="1" clrIdx="0">
    <p:extLst>
      <p:ext uri="{19B8F6BF-5375-455C-9EA6-DF929625EA0E}">
        <p15:presenceInfo xmlns:p15="http://schemas.microsoft.com/office/powerpoint/2012/main" userId="Maria Salervo" providerId="None"/>
      </p:ext>
    </p:extLst>
  </p:cmAuthor>
  <p:cmAuthor id="2" name="Maria Salervo" initials="MS [2]" lastIdx="1" clrIdx="1">
    <p:extLst>
      <p:ext uri="{19B8F6BF-5375-455C-9EA6-DF929625EA0E}">
        <p15:presenceInfo xmlns:p15="http://schemas.microsoft.com/office/powerpoint/2012/main" userId="5a5a0d49413b606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353"/>
    <a:srgbClr val="003580"/>
    <a:srgbClr val="002060"/>
    <a:srgbClr val="C8E3FC"/>
    <a:srgbClr val="254C9B"/>
    <a:srgbClr val="003A80"/>
    <a:srgbClr val="0F3E83"/>
    <a:srgbClr val="C9D8DB"/>
    <a:srgbClr val="0655AB"/>
    <a:srgbClr val="029CD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3690" autoAdjust="0"/>
  </p:normalViewPr>
  <p:slideViewPr>
    <p:cSldViewPr snapToGrid="0" snapToObjects="1" showGuides="1">
      <p:cViewPr varScale="1">
        <p:scale>
          <a:sx n="121" d="100"/>
          <a:sy n="121" d="100"/>
        </p:scale>
        <p:origin x="336" y="184"/>
      </p:cViewPr>
      <p:guideLst>
        <p:guide orient="horz" pos="4020"/>
        <p:guide pos="3840"/>
        <p:guide pos="7291"/>
        <p:guide pos="3726"/>
        <p:guide pos="3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582" y="-426"/>
      </p:cViewPr>
      <p:guideLst>
        <p:guide orient="horz" pos="2761"/>
        <p:guide orient="horz" pos="5330"/>
        <p:guide pos="234"/>
        <p:guide pos="405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15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47" Type="http://schemas.openxmlformats.org/officeDocument/2006/relationships/theme" Target="theme/theme1.xml"/><Relationship Id="rId50" Type="http://schemas.openxmlformats.org/officeDocument/2006/relationships/customXml" Target="../customXml/item4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font" Target="fonts/font5.fntdata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49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7.fntdata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font" Target="fonts/font17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55861186528614"/>
          <c:y val="0"/>
          <c:w val="0.69260303728294703"/>
          <c:h val="1"/>
        </c:manualLayout>
      </c:layout>
      <c:doughnutChart>
        <c:varyColors val="1"/>
        <c:ser>
          <c:idx val="0"/>
          <c:order val="0"/>
          <c:tx>
            <c:strRef>
              <c:f>Taul1!$B$1</c:f>
              <c:strCache>
                <c:ptCount val="1"/>
                <c:pt idx="0">
                  <c:v>Myynti</c:v>
                </c:pt>
              </c:strCache>
            </c:strRef>
          </c:tx>
          <c:spPr>
            <a:ln>
              <a:noFill/>
            </a:ln>
            <a:effectLst>
              <a:softEdge rad="0"/>
            </a:effectLst>
            <a:scene3d>
              <a:camera prst="orthographicFront"/>
              <a:lightRig rig="balanced" dir="t"/>
            </a:scene3d>
          </c:spPr>
          <c:explosion val="9"/>
          <c:dPt>
            <c:idx val="0"/>
            <c:bubble3D val="0"/>
            <c:explosion val="6"/>
            <c:spPr>
              <a:solidFill>
                <a:schemeClr val="accent1"/>
              </a:solidFill>
              <a:ln w="19050">
                <a:noFill/>
              </a:ln>
              <a:effectLst>
                <a:softEdge rad="0"/>
              </a:effectLst>
              <a:scene3d>
                <a:camera prst="orthographicFront"/>
                <a:lightRig rig="balanced" dir="t"/>
              </a:scene3d>
            </c:spPr>
            <c:extLst>
              <c:ext xmlns:c16="http://schemas.microsoft.com/office/drawing/2014/chart" uri="{C3380CC4-5D6E-409C-BE32-E72D297353CC}">
                <c16:uniqueId val="{00000001-323F-4A75-B9D0-2396DEB26118}"/>
              </c:ext>
            </c:extLst>
          </c:dPt>
          <c:dPt>
            <c:idx val="1"/>
            <c:bubble3D val="0"/>
            <c:explosion val="6"/>
            <c:spPr>
              <a:solidFill>
                <a:schemeClr val="accent2"/>
              </a:solidFill>
              <a:ln w="19050">
                <a:noFill/>
              </a:ln>
              <a:effectLst>
                <a:softEdge rad="0"/>
              </a:effectLst>
              <a:scene3d>
                <a:camera prst="orthographicFront"/>
                <a:lightRig rig="balanced" dir="t"/>
              </a:scene3d>
            </c:spPr>
            <c:extLst>
              <c:ext xmlns:c16="http://schemas.microsoft.com/office/drawing/2014/chart" uri="{C3380CC4-5D6E-409C-BE32-E72D297353CC}">
                <c16:uniqueId val="{00000003-323F-4A75-B9D0-2396DEB26118}"/>
              </c:ext>
            </c:extLst>
          </c:dPt>
          <c:dPt>
            <c:idx val="2"/>
            <c:bubble3D val="0"/>
            <c:explosion val="5"/>
            <c:spPr>
              <a:solidFill>
                <a:schemeClr val="accent3"/>
              </a:solidFill>
              <a:ln w="19050">
                <a:noFill/>
              </a:ln>
              <a:effectLst>
                <a:softEdge rad="0"/>
              </a:effectLst>
              <a:scene3d>
                <a:camera prst="orthographicFront"/>
                <a:lightRig rig="balanced" dir="t"/>
              </a:scene3d>
            </c:spPr>
            <c:extLst>
              <c:ext xmlns:c16="http://schemas.microsoft.com/office/drawing/2014/chart" uri="{C3380CC4-5D6E-409C-BE32-E72D297353CC}">
                <c16:uniqueId val="{00000005-323F-4A75-B9D0-2396DEB26118}"/>
              </c:ext>
            </c:extLst>
          </c:dPt>
          <c:dPt>
            <c:idx val="3"/>
            <c:bubble3D val="0"/>
            <c:explosion val="7"/>
            <c:spPr>
              <a:solidFill>
                <a:schemeClr val="accent4"/>
              </a:solidFill>
              <a:ln w="19050">
                <a:noFill/>
              </a:ln>
              <a:effectLst>
                <a:softEdge rad="0"/>
              </a:effectLst>
              <a:scene3d>
                <a:camera prst="orthographicFront"/>
                <a:lightRig rig="balanced" dir="t"/>
              </a:scene3d>
            </c:spPr>
            <c:extLst>
              <c:ext xmlns:c16="http://schemas.microsoft.com/office/drawing/2014/chart" uri="{C3380CC4-5D6E-409C-BE32-E72D297353CC}">
                <c16:uniqueId val="{00000007-323F-4A75-B9D0-2396DEB2611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>
                <a:softEdge rad="0"/>
              </a:effectLst>
              <a:scene3d>
                <a:camera prst="orthographicFront"/>
                <a:lightRig rig="balanced" dir="t"/>
              </a:scene3d>
            </c:spPr>
            <c:extLst>
              <c:ext xmlns:c16="http://schemas.microsoft.com/office/drawing/2014/chart" uri="{C3380CC4-5D6E-409C-BE32-E72D297353CC}">
                <c16:uniqueId val="{00000009-323F-4A75-B9D0-2396DEB2611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>
                <a:softEdge rad="0"/>
              </a:effectLst>
              <a:scene3d>
                <a:camera prst="orthographicFront"/>
                <a:lightRig rig="balanced" dir="t"/>
              </a:scene3d>
            </c:spPr>
            <c:extLst>
              <c:ext xmlns:c16="http://schemas.microsoft.com/office/drawing/2014/chart" uri="{C3380CC4-5D6E-409C-BE32-E72D297353CC}">
                <c16:uniqueId val="{0000000B-323F-4A75-B9D0-2396DEB26118}"/>
              </c:ext>
            </c:extLst>
          </c:dPt>
          <c:cat>
            <c:strRef>
              <c:f>Taul1!$A$2:$A$7</c:f>
              <c:strCache>
                <c:ptCount val="4"/>
                <c:pt idx="0">
                  <c:v>1. neljännes</c:v>
                </c:pt>
                <c:pt idx="1">
                  <c:v>10</c:v>
                </c:pt>
                <c:pt idx="2">
                  <c:v>3. neljännes</c:v>
                </c:pt>
                <c:pt idx="3">
                  <c:v>0</c:v>
                </c:pt>
              </c:strCache>
            </c:strRef>
          </c:cat>
          <c:val>
            <c:numRef>
              <c:f>Taul1!$B$2:$B$7</c:f>
              <c:numCache>
                <c:formatCode>General</c:formatCode>
                <c:ptCount val="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23F-4A75-B9D0-2396DEB261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3F-C849-A565-0E9B84C61B22}"/>
              </c:ext>
            </c:extLst>
          </c:dPt>
          <c:dPt>
            <c:idx val="1"/>
            <c:bubble3D val="0"/>
            <c:spPr>
              <a:solidFill>
                <a:srgbClr val="0035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3F-C849-A565-0E9B84C61B22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F3F-C849-A565-0E9B84C61B22}"/>
              </c:ext>
            </c:extLst>
          </c:dPt>
          <c:dPt>
            <c:idx val="3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F3F-C849-A565-0E9B84C61B22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0</c:v>
                </c:pt>
                <c:pt idx="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F3F-C849-A565-0E9B84C61B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411D0B-6318-6B43-B2B1-6F8686736141}" type="doc">
      <dgm:prSet loTypeId="urn:microsoft.com/office/officeart/2005/8/layout/cycle6" loCatId="list" qsTypeId="urn:microsoft.com/office/officeart/2005/8/quickstyle/3d3" qsCatId="3D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77866B72-89EF-984A-95F8-693475745123}">
      <dgm:prSet phldrT="[Text]"/>
      <dgm:spPr/>
      <dgm:t>
        <a:bodyPr/>
        <a:lstStyle/>
        <a:p>
          <a:r>
            <a:rPr lang="en-US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omprehensive quality management</a:t>
          </a:r>
          <a:endParaRPr lang="en-US" dirty="0"/>
        </a:p>
      </dgm:t>
    </dgm:pt>
    <dgm:pt modelId="{9879A50B-A1B3-734E-965E-F260A9DA3BB8}" type="parTrans" cxnId="{A365EA33-F7AA-5A4F-8CE3-08A5CC373338}">
      <dgm:prSet/>
      <dgm:spPr/>
      <dgm:t>
        <a:bodyPr/>
        <a:lstStyle/>
        <a:p>
          <a:endParaRPr lang="en-US"/>
        </a:p>
      </dgm:t>
    </dgm:pt>
    <dgm:pt modelId="{599E30E7-824C-1640-893E-B2FB138EB4C4}" type="sibTrans" cxnId="{A365EA33-F7AA-5A4F-8CE3-08A5CC373338}">
      <dgm:prSet/>
      <dgm:spPr/>
      <dgm:t>
        <a:bodyPr/>
        <a:lstStyle/>
        <a:p>
          <a:endParaRPr lang="en-US"/>
        </a:p>
      </dgm:t>
    </dgm:pt>
    <dgm:pt modelId="{D3A324D8-F5FA-B143-AC9D-4FADED1A96D2}">
      <dgm:prSet phldrT="[Text]"/>
      <dgm:spPr/>
      <dgm:t>
        <a:bodyPr/>
        <a:lstStyle/>
        <a:p>
          <a:r>
            <a:rPr lang="en-US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ustomer-orientation</a:t>
          </a:r>
          <a:endParaRPr lang="en-US" dirty="0"/>
        </a:p>
      </dgm:t>
    </dgm:pt>
    <dgm:pt modelId="{A4E7358C-92BF-B642-AB0C-D2136C44E2ED}" type="parTrans" cxnId="{11CA190D-7D70-3644-A34D-257AD8BA9E6A}">
      <dgm:prSet/>
      <dgm:spPr/>
      <dgm:t>
        <a:bodyPr/>
        <a:lstStyle/>
        <a:p>
          <a:endParaRPr lang="en-US"/>
        </a:p>
      </dgm:t>
    </dgm:pt>
    <dgm:pt modelId="{980BDD6F-998C-FE48-BEC1-BD9D0224D910}" type="sibTrans" cxnId="{11CA190D-7D70-3644-A34D-257AD8BA9E6A}">
      <dgm:prSet/>
      <dgm:spPr/>
      <dgm:t>
        <a:bodyPr/>
        <a:lstStyle/>
        <a:p>
          <a:endParaRPr lang="en-US"/>
        </a:p>
      </dgm:t>
    </dgm:pt>
    <dgm:pt modelId="{DDCB87E9-C12B-8046-BB9C-66C923C6162E}">
      <dgm:prSet phldrT="[Text]"/>
      <dgm:spPr/>
      <dgm:t>
        <a:bodyPr/>
        <a:lstStyle/>
        <a:p>
          <a:r>
            <a:rPr lang="en-US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ontinuous improvement towards excellence</a:t>
          </a:r>
          <a:r>
            <a: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 </a:t>
          </a:r>
          <a:endParaRPr lang="en-US" dirty="0"/>
        </a:p>
      </dgm:t>
    </dgm:pt>
    <dgm:pt modelId="{1DB4F86D-064F-F44F-B97C-6291D09C84E8}" type="parTrans" cxnId="{536A7E89-4653-3142-9A5E-CC74858F6044}">
      <dgm:prSet/>
      <dgm:spPr/>
      <dgm:t>
        <a:bodyPr/>
        <a:lstStyle/>
        <a:p>
          <a:endParaRPr lang="en-US"/>
        </a:p>
      </dgm:t>
    </dgm:pt>
    <dgm:pt modelId="{CEDC11D0-5925-2643-9EEC-C785E359DF99}" type="sibTrans" cxnId="{536A7E89-4653-3142-9A5E-CC74858F6044}">
      <dgm:prSet/>
      <dgm:spPr/>
      <dgm:t>
        <a:bodyPr/>
        <a:lstStyle/>
        <a:p>
          <a:endParaRPr lang="en-US"/>
        </a:p>
      </dgm:t>
    </dgm:pt>
    <dgm:pt modelId="{2EE9E3A9-930D-6B44-B090-87EAEB678D7E}">
      <dgm:prSet phldrT="[Text]"/>
      <dgm:spPr/>
      <dgm:t>
        <a:bodyPr/>
        <a:lstStyle/>
        <a:p>
          <a:r>
            <a:rPr lang="en-US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ompetences and result-orientation</a:t>
          </a:r>
          <a:endParaRPr lang="en-US" dirty="0"/>
        </a:p>
      </dgm:t>
    </dgm:pt>
    <dgm:pt modelId="{1600EADF-FD5A-6A4D-876F-5B84597CF01C}" type="parTrans" cxnId="{25AE0238-CDD8-0744-ADBB-1AF11BFF71B2}">
      <dgm:prSet/>
      <dgm:spPr/>
      <dgm:t>
        <a:bodyPr/>
        <a:lstStyle/>
        <a:p>
          <a:endParaRPr lang="en-US"/>
        </a:p>
      </dgm:t>
    </dgm:pt>
    <dgm:pt modelId="{9D9799C2-499B-024F-88CD-DC79E7982F8D}" type="sibTrans" cxnId="{25AE0238-CDD8-0744-ADBB-1AF11BFF71B2}">
      <dgm:prSet/>
      <dgm:spPr/>
      <dgm:t>
        <a:bodyPr/>
        <a:lstStyle/>
        <a:p>
          <a:endParaRPr lang="en-US"/>
        </a:p>
      </dgm:t>
    </dgm:pt>
    <dgm:pt modelId="{E64EEE01-4DE2-9346-9355-A88A8A98D43F}">
      <dgm:prSet phldrT="[Text]"/>
      <dgm:spPr/>
      <dgm:t>
        <a:bodyPr/>
        <a:lstStyle/>
        <a:p>
          <a:r>
            <a:rPr lang="en-US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Decision-making, steering and leadership</a:t>
          </a:r>
          <a:endParaRPr lang="en-US" dirty="0"/>
        </a:p>
      </dgm:t>
    </dgm:pt>
    <dgm:pt modelId="{51DC3BF7-AFF4-2544-B44C-1D878111FED4}" type="parTrans" cxnId="{E3AA9D0C-A98F-C944-B8A2-8CCE8A9F1C84}">
      <dgm:prSet/>
      <dgm:spPr/>
      <dgm:t>
        <a:bodyPr/>
        <a:lstStyle/>
        <a:p>
          <a:endParaRPr lang="en-US"/>
        </a:p>
      </dgm:t>
    </dgm:pt>
    <dgm:pt modelId="{E4378FA4-BD5F-4945-87D5-6B39F4EFB239}" type="sibTrans" cxnId="{E3AA9D0C-A98F-C944-B8A2-8CCE8A9F1C84}">
      <dgm:prSet/>
      <dgm:spPr/>
      <dgm:t>
        <a:bodyPr/>
        <a:lstStyle/>
        <a:p>
          <a:endParaRPr lang="en-US"/>
        </a:p>
      </dgm:t>
    </dgm:pt>
    <dgm:pt modelId="{EDBD4B01-9147-9247-8B07-8E313E99C4CC}" type="pres">
      <dgm:prSet presAssocID="{62411D0B-6318-6B43-B2B1-6F8686736141}" presName="cycle" presStyleCnt="0">
        <dgm:presLayoutVars>
          <dgm:dir/>
          <dgm:resizeHandles val="exact"/>
        </dgm:presLayoutVars>
      </dgm:prSet>
      <dgm:spPr/>
    </dgm:pt>
    <dgm:pt modelId="{DC6EBD41-4BFE-DC46-A113-56F73E03776E}" type="pres">
      <dgm:prSet presAssocID="{77866B72-89EF-984A-95F8-693475745123}" presName="node" presStyleLbl="node1" presStyleIdx="0" presStyleCnt="5">
        <dgm:presLayoutVars>
          <dgm:bulletEnabled val="1"/>
        </dgm:presLayoutVars>
      </dgm:prSet>
      <dgm:spPr/>
    </dgm:pt>
    <dgm:pt modelId="{4BBE35C0-DFEA-7E4A-B1A8-98126FC3633E}" type="pres">
      <dgm:prSet presAssocID="{77866B72-89EF-984A-95F8-693475745123}" presName="spNode" presStyleCnt="0"/>
      <dgm:spPr/>
    </dgm:pt>
    <dgm:pt modelId="{5286DE62-4F4D-4849-86E5-66D3B4B16D4F}" type="pres">
      <dgm:prSet presAssocID="{599E30E7-824C-1640-893E-B2FB138EB4C4}" presName="sibTrans" presStyleLbl="sibTrans1D1" presStyleIdx="0" presStyleCnt="5"/>
      <dgm:spPr/>
    </dgm:pt>
    <dgm:pt modelId="{5053537E-B5C2-C847-8E56-BA6B2C1F2EEE}" type="pres">
      <dgm:prSet presAssocID="{D3A324D8-F5FA-B143-AC9D-4FADED1A96D2}" presName="node" presStyleLbl="node1" presStyleIdx="1" presStyleCnt="5">
        <dgm:presLayoutVars>
          <dgm:bulletEnabled val="1"/>
        </dgm:presLayoutVars>
      </dgm:prSet>
      <dgm:spPr/>
    </dgm:pt>
    <dgm:pt modelId="{2BB667C5-E6AD-8642-B621-58D46E764112}" type="pres">
      <dgm:prSet presAssocID="{D3A324D8-F5FA-B143-AC9D-4FADED1A96D2}" presName="spNode" presStyleCnt="0"/>
      <dgm:spPr/>
    </dgm:pt>
    <dgm:pt modelId="{5DD6297F-2E1D-B04D-9FF2-52EAA16615A7}" type="pres">
      <dgm:prSet presAssocID="{980BDD6F-998C-FE48-BEC1-BD9D0224D910}" presName="sibTrans" presStyleLbl="sibTrans1D1" presStyleIdx="1" presStyleCnt="5"/>
      <dgm:spPr/>
    </dgm:pt>
    <dgm:pt modelId="{E2BB023D-3C3B-E140-9FF1-F09B9DC3AC91}" type="pres">
      <dgm:prSet presAssocID="{DDCB87E9-C12B-8046-BB9C-66C923C6162E}" presName="node" presStyleLbl="node1" presStyleIdx="2" presStyleCnt="5">
        <dgm:presLayoutVars>
          <dgm:bulletEnabled val="1"/>
        </dgm:presLayoutVars>
      </dgm:prSet>
      <dgm:spPr/>
    </dgm:pt>
    <dgm:pt modelId="{5ED55C57-F206-8143-9F27-E950F50FE942}" type="pres">
      <dgm:prSet presAssocID="{DDCB87E9-C12B-8046-BB9C-66C923C6162E}" presName="spNode" presStyleCnt="0"/>
      <dgm:spPr/>
    </dgm:pt>
    <dgm:pt modelId="{E719D6B9-DDF3-1D42-A66F-E6DC43053D21}" type="pres">
      <dgm:prSet presAssocID="{CEDC11D0-5925-2643-9EEC-C785E359DF99}" presName="sibTrans" presStyleLbl="sibTrans1D1" presStyleIdx="2" presStyleCnt="5"/>
      <dgm:spPr/>
    </dgm:pt>
    <dgm:pt modelId="{D7972CDF-E42B-6E4F-84E2-C2253716F403}" type="pres">
      <dgm:prSet presAssocID="{E64EEE01-4DE2-9346-9355-A88A8A98D43F}" presName="node" presStyleLbl="node1" presStyleIdx="3" presStyleCnt="5">
        <dgm:presLayoutVars>
          <dgm:bulletEnabled val="1"/>
        </dgm:presLayoutVars>
      </dgm:prSet>
      <dgm:spPr/>
    </dgm:pt>
    <dgm:pt modelId="{A6696990-7B9B-3B4C-9A0A-DDE56A1687BD}" type="pres">
      <dgm:prSet presAssocID="{E64EEE01-4DE2-9346-9355-A88A8A98D43F}" presName="spNode" presStyleCnt="0"/>
      <dgm:spPr/>
    </dgm:pt>
    <dgm:pt modelId="{0ACE8FAD-8EFC-6240-B399-1D77FFBCA54E}" type="pres">
      <dgm:prSet presAssocID="{E4378FA4-BD5F-4945-87D5-6B39F4EFB239}" presName="sibTrans" presStyleLbl="sibTrans1D1" presStyleIdx="3" presStyleCnt="5"/>
      <dgm:spPr/>
    </dgm:pt>
    <dgm:pt modelId="{FECC1747-F861-9C4C-BB69-0BC9F8704019}" type="pres">
      <dgm:prSet presAssocID="{2EE9E3A9-930D-6B44-B090-87EAEB678D7E}" presName="node" presStyleLbl="node1" presStyleIdx="4" presStyleCnt="5">
        <dgm:presLayoutVars>
          <dgm:bulletEnabled val="1"/>
        </dgm:presLayoutVars>
      </dgm:prSet>
      <dgm:spPr/>
    </dgm:pt>
    <dgm:pt modelId="{0D862396-F3D3-064F-AE4D-23AD2E01F508}" type="pres">
      <dgm:prSet presAssocID="{2EE9E3A9-930D-6B44-B090-87EAEB678D7E}" presName="spNode" presStyleCnt="0"/>
      <dgm:spPr/>
    </dgm:pt>
    <dgm:pt modelId="{D0583BEB-4763-7D47-A593-3CA21FCCA33F}" type="pres">
      <dgm:prSet presAssocID="{9D9799C2-499B-024F-88CD-DC79E7982F8D}" presName="sibTrans" presStyleLbl="sibTrans1D1" presStyleIdx="4" presStyleCnt="5"/>
      <dgm:spPr/>
    </dgm:pt>
  </dgm:ptLst>
  <dgm:cxnLst>
    <dgm:cxn modelId="{C62A9A03-ECF8-0846-8960-4DF1258FCCF2}" type="presOf" srcId="{599E30E7-824C-1640-893E-B2FB138EB4C4}" destId="{5286DE62-4F4D-4849-86E5-66D3B4B16D4F}" srcOrd="0" destOrd="0" presId="urn:microsoft.com/office/officeart/2005/8/layout/cycle6"/>
    <dgm:cxn modelId="{E3AA9D0C-A98F-C944-B8A2-8CCE8A9F1C84}" srcId="{62411D0B-6318-6B43-B2B1-6F8686736141}" destId="{E64EEE01-4DE2-9346-9355-A88A8A98D43F}" srcOrd="3" destOrd="0" parTransId="{51DC3BF7-AFF4-2544-B44C-1D878111FED4}" sibTransId="{E4378FA4-BD5F-4945-87D5-6B39F4EFB239}"/>
    <dgm:cxn modelId="{11CA190D-7D70-3644-A34D-257AD8BA9E6A}" srcId="{62411D0B-6318-6B43-B2B1-6F8686736141}" destId="{D3A324D8-F5FA-B143-AC9D-4FADED1A96D2}" srcOrd="1" destOrd="0" parTransId="{A4E7358C-92BF-B642-AB0C-D2136C44E2ED}" sibTransId="{980BDD6F-998C-FE48-BEC1-BD9D0224D910}"/>
    <dgm:cxn modelId="{7448D70F-21C6-B84F-ABA5-F72514BFABFE}" type="presOf" srcId="{9D9799C2-499B-024F-88CD-DC79E7982F8D}" destId="{D0583BEB-4763-7D47-A593-3CA21FCCA33F}" srcOrd="0" destOrd="0" presId="urn:microsoft.com/office/officeart/2005/8/layout/cycle6"/>
    <dgm:cxn modelId="{A365EA33-F7AA-5A4F-8CE3-08A5CC373338}" srcId="{62411D0B-6318-6B43-B2B1-6F8686736141}" destId="{77866B72-89EF-984A-95F8-693475745123}" srcOrd="0" destOrd="0" parTransId="{9879A50B-A1B3-734E-965E-F260A9DA3BB8}" sibTransId="{599E30E7-824C-1640-893E-B2FB138EB4C4}"/>
    <dgm:cxn modelId="{25AE0238-CDD8-0744-ADBB-1AF11BFF71B2}" srcId="{62411D0B-6318-6B43-B2B1-6F8686736141}" destId="{2EE9E3A9-930D-6B44-B090-87EAEB678D7E}" srcOrd="4" destOrd="0" parTransId="{1600EADF-FD5A-6A4D-876F-5B84597CF01C}" sibTransId="{9D9799C2-499B-024F-88CD-DC79E7982F8D}"/>
    <dgm:cxn modelId="{01935C38-AE97-9F43-BB9E-68F43F98AEDE}" type="presOf" srcId="{2EE9E3A9-930D-6B44-B090-87EAEB678D7E}" destId="{FECC1747-F861-9C4C-BB69-0BC9F8704019}" srcOrd="0" destOrd="0" presId="urn:microsoft.com/office/officeart/2005/8/layout/cycle6"/>
    <dgm:cxn modelId="{BF4FCA42-FCFC-0F4D-B5DC-8FF0477E0A13}" type="presOf" srcId="{E64EEE01-4DE2-9346-9355-A88A8A98D43F}" destId="{D7972CDF-E42B-6E4F-84E2-C2253716F403}" srcOrd="0" destOrd="0" presId="urn:microsoft.com/office/officeart/2005/8/layout/cycle6"/>
    <dgm:cxn modelId="{CE67A959-7552-6344-91D8-6A3FB3148AAE}" type="presOf" srcId="{DDCB87E9-C12B-8046-BB9C-66C923C6162E}" destId="{E2BB023D-3C3B-E140-9FF1-F09B9DC3AC91}" srcOrd="0" destOrd="0" presId="urn:microsoft.com/office/officeart/2005/8/layout/cycle6"/>
    <dgm:cxn modelId="{536A7E89-4653-3142-9A5E-CC74858F6044}" srcId="{62411D0B-6318-6B43-B2B1-6F8686736141}" destId="{DDCB87E9-C12B-8046-BB9C-66C923C6162E}" srcOrd="2" destOrd="0" parTransId="{1DB4F86D-064F-F44F-B97C-6291D09C84E8}" sibTransId="{CEDC11D0-5925-2643-9EEC-C785E359DF99}"/>
    <dgm:cxn modelId="{8387D0BB-BB4E-3E4D-A7CD-464CEAF69E03}" type="presOf" srcId="{980BDD6F-998C-FE48-BEC1-BD9D0224D910}" destId="{5DD6297F-2E1D-B04D-9FF2-52EAA16615A7}" srcOrd="0" destOrd="0" presId="urn:microsoft.com/office/officeart/2005/8/layout/cycle6"/>
    <dgm:cxn modelId="{98D82EC0-B095-B245-9DA7-340467BF060E}" type="presOf" srcId="{CEDC11D0-5925-2643-9EEC-C785E359DF99}" destId="{E719D6B9-DDF3-1D42-A66F-E6DC43053D21}" srcOrd="0" destOrd="0" presId="urn:microsoft.com/office/officeart/2005/8/layout/cycle6"/>
    <dgm:cxn modelId="{7F60CEC0-706A-3F46-B886-242AE646D13F}" type="presOf" srcId="{62411D0B-6318-6B43-B2B1-6F8686736141}" destId="{EDBD4B01-9147-9247-8B07-8E313E99C4CC}" srcOrd="0" destOrd="0" presId="urn:microsoft.com/office/officeart/2005/8/layout/cycle6"/>
    <dgm:cxn modelId="{16642CC6-C149-B74C-A525-D2B7B42E7CD3}" type="presOf" srcId="{77866B72-89EF-984A-95F8-693475745123}" destId="{DC6EBD41-4BFE-DC46-A113-56F73E03776E}" srcOrd="0" destOrd="0" presId="urn:microsoft.com/office/officeart/2005/8/layout/cycle6"/>
    <dgm:cxn modelId="{F89E7CC9-F804-244F-B28C-07796C33E494}" type="presOf" srcId="{D3A324D8-F5FA-B143-AC9D-4FADED1A96D2}" destId="{5053537E-B5C2-C847-8E56-BA6B2C1F2EEE}" srcOrd="0" destOrd="0" presId="urn:microsoft.com/office/officeart/2005/8/layout/cycle6"/>
    <dgm:cxn modelId="{D70082DA-A668-E440-8EBF-BFFEDD8ABAFC}" type="presOf" srcId="{E4378FA4-BD5F-4945-87D5-6B39F4EFB239}" destId="{0ACE8FAD-8EFC-6240-B399-1D77FFBCA54E}" srcOrd="0" destOrd="0" presId="urn:microsoft.com/office/officeart/2005/8/layout/cycle6"/>
    <dgm:cxn modelId="{2B6DC3DA-365C-3F41-B690-6FA83B6B779D}" type="presParOf" srcId="{EDBD4B01-9147-9247-8B07-8E313E99C4CC}" destId="{DC6EBD41-4BFE-DC46-A113-56F73E03776E}" srcOrd="0" destOrd="0" presId="urn:microsoft.com/office/officeart/2005/8/layout/cycle6"/>
    <dgm:cxn modelId="{02E187F9-44BB-4D46-AFB5-F0522DB37D21}" type="presParOf" srcId="{EDBD4B01-9147-9247-8B07-8E313E99C4CC}" destId="{4BBE35C0-DFEA-7E4A-B1A8-98126FC3633E}" srcOrd="1" destOrd="0" presId="urn:microsoft.com/office/officeart/2005/8/layout/cycle6"/>
    <dgm:cxn modelId="{68F10896-BE55-9F48-9B90-0291017C29DC}" type="presParOf" srcId="{EDBD4B01-9147-9247-8B07-8E313E99C4CC}" destId="{5286DE62-4F4D-4849-86E5-66D3B4B16D4F}" srcOrd="2" destOrd="0" presId="urn:microsoft.com/office/officeart/2005/8/layout/cycle6"/>
    <dgm:cxn modelId="{9DF990FC-66D2-064C-8110-DA24E52CF6D6}" type="presParOf" srcId="{EDBD4B01-9147-9247-8B07-8E313E99C4CC}" destId="{5053537E-B5C2-C847-8E56-BA6B2C1F2EEE}" srcOrd="3" destOrd="0" presId="urn:microsoft.com/office/officeart/2005/8/layout/cycle6"/>
    <dgm:cxn modelId="{2050E5D6-D09C-D045-A4D5-4E04AC025A16}" type="presParOf" srcId="{EDBD4B01-9147-9247-8B07-8E313E99C4CC}" destId="{2BB667C5-E6AD-8642-B621-58D46E764112}" srcOrd="4" destOrd="0" presId="urn:microsoft.com/office/officeart/2005/8/layout/cycle6"/>
    <dgm:cxn modelId="{7FB29F82-1620-DA45-B2AE-D477E5F03BD7}" type="presParOf" srcId="{EDBD4B01-9147-9247-8B07-8E313E99C4CC}" destId="{5DD6297F-2E1D-B04D-9FF2-52EAA16615A7}" srcOrd="5" destOrd="0" presId="urn:microsoft.com/office/officeart/2005/8/layout/cycle6"/>
    <dgm:cxn modelId="{45BC02DC-3F36-0743-A660-9D0C18B8E8EE}" type="presParOf" srcId="{EDBD4B01-9147-9247-8B07-8E313E99C4CC}" destId="{E2BB023D-3C3B-E140-9FF1-F09B9DC3AC91}" srcOrd="6" destOrd="0" presId="urn:microsoft.com/office/officeart/2005/8/layout/cycle6"/>
    <dgm:cxn modelId="{F0C6D730-3235-344E-8FE9-23112D98772B}" type="presParOf" srcId="{EDBD4B01-9147-9247-8B07-8E313E99C4CC}" destId="{5ED55C57-F206-8143-9F27-E950F50FE942}" srcOrd="7" destOrd="0" presId="urn:microsoft.com/office/officeart/2005/8/layout/cycle6"/>
    <dgm:cxn modelId="{28F57DC3-36BC-BC46-AAB9-7C89331CC11D}" type="presParOf" srcId="{EDBD4B01-9147-9247-8B07-8E313E99C4CC}" destId="{E719D6B9-DDF3-1D42-A66F-E6DC43053D21}" srcOrd="8" destOrd="0" presId="urn:microsoft.com/office/officeart/2005/8/layout/cycle6"/>
    <dgm:cxn modelId="{A2174C08-1848-2245-B663-35E60344D0ED}" type="presParOf" srcId="{EDBD4B01-9147-9247-8B07-8E313E99C4CC}" destId="{D7972CDF-E42B-6E4F-84E2-C2253716F403}" srcOrd="9" destOrd="0" presId="urn:microsoft.com/office/officeart/2005/8/layout/cycle6"/>
    <dgm:cxn modelId="{753F9779-502B-FD40-8B5F-0E2D3309D08E}" type="presParOf" srcId="{EDBD4B01-9147-9247-8B07-8E313E99C4CC}" destId="{A6696990-7B9B-3B4C-9A0A-DDE56A1687BD}" srcOrd="10" destOrd="0" presId="urn:microsoft.com/office/officeart/2005/8/layout/cycle6"/>
    <dgm:cxn modelId="{4554D654-5B4C-C242-BAB7-0E24E99D75DF}" type="presParOf" srcId="{EDBD4B01-9147-9247-8B07-8E313E99C4CC}" destId="{0ACE8FAD-8EFC-6240-B399-1D77FFBCA54E}" srcOrd="11" destOrd="0" presId="urn:microsoft.com/office/officeart/2005/8/layout/cycle6"/>
    <dgm:cxn modelId="{DFF9642F-1BC3-1D4D-A582-D62AACE110ED}" type="presParOf" srcId="{EDBD4B01-9147-9247-8B07-8E313E99C4CC}" destId="{FECC1747-F861-9C4C-BB69-0BC9F8704019}" srcOrd="12" destOrd="0" presId="urn:microsoft.com/office/officeart/2005/8/layout/cycle6"/>
    <dgm:cxn modelId="{02845A7A-B084-334F-B6EA-CCE4B6A163A3}" type="presParOf" srcId="{EDBD4B01-9147-9247-8B07-8E313E99C4CC}" destId="{0D862396-F3D3-064F-AE4D-23AD2E01F508}" srcOrd="13" destOrd="0" presId="urn:microsoft.com/office/officeart/2005/8/layout/cycle6"/>
    <dgm:cxn modelId="{AFEC9830-31E5-8C49-82E6-338EA74F5E71}" type="presParOf" srcId="{EDBD4B01-9147-9247-8B07-8E313E99C4CC}" destId="{D0583BEB-4763-7D47-A593-3CA21FCCA33F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6EBD41-4BFE-DC46-A113-56F73E03776E}">
      <dsp:nvSpPr>
        <dsp:cNvPr id="0" name=""/>
        <dsp:cNvSpPr/>
      </dsp:nvSpPr>
      <dsp:spPr>
        <a:xfrm>
          <a:off x="3988840" y="1550"/>
          <a:ext cx="1565712" cy="1017713"/>
        </a:xfrm>
        <a:prstGeom prst="roundRect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omprehensive quality management</a:t>
          </a:r>
          <a:endParaRPr lang="en-US" sz="1400" kern="1200" dirty="0"/>
        </a:p>
      </dsp:txBody>
      <dsp:txXfrm>
        <a:off x="4038521" y="51231"/>
        <a:ext cx="1466350" cy="918351"/>
      </dsp:txXfrm>
    </dsp:sp>
    <dsp:sp modelId="{5286DE62-4F4D-4849-86E5-66D3B4B16D4F}">
      <dsp:nvSpPr>
        <dsp:cNvPr id="0" name=""/>
        <dsp:cNvSpPr/>
      </dsp:nvSpPr>
      <dsp:spPr>
        <a:xfrm>
          <a:off x="2735769" y="510407"/>
          <a:ext cx="4071853" cy="4071853"/>
        </a:xfrm>
        <a:custGeom>
          <a:avLst/>
          <a:gdLst/>
          <a:ahLst/>
          <a:cxnLst/>
          <a:rect l="0" t="0" r="0" b="0"/>
          <a:pathLst>
            <a:path>
              <a:moveTo>
                <a:pt x="2829572" y="161060"/>
              </a:moveTo>
              <a:arcTo wR="2035926" hR="2035926" stAng="17576599" swAng="1964626"/>
            </a:path>
          </a:pathLst>
        </a:custGeom>
        <a:noFill/>
        <a:ln w="6350" cap="flat" cmpd="sng" algn="ctr">
          <a:solidFill>
            <a:schemeClr val="accent2">
              <a:shade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53537E-B5C2-C847-8E56-BA6B2C1F2EEE}">
      <dsp:nvSpPr>
        <dsp:cNvPr id="0" name=""/>
        <dsp:cNvSpPr/>
      </dsp:nvSpPr>
      <dsp:spPr>
        <a:xfrm>
          <a:off x="5925121" y="1408341"/>
          <a:ext cx="1565712" cy="1017713"/>
        </a:xfrm>
        <a:prstGeom prst="roundRect">
          <a:avLst/>
        </a:prstGeom>
        <a:solidFill>
          <a:schemeClr val="accent2">
            <a:shade val="50000"/>
            <a:hueOff val="286334"/>
            <a:satOff val="-17088"/>
            <a:lumOff val="2161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ustomer-orientation</a:t>
          </a:r>
          <a:endParaRPr lang="en-US" sz="1400" kern="1200" dirty="0"/>
        </a:p>
      </dsp:txBody>
      <dsp:txXfrm>
        <a:off x="5974802" y="1458022"/>
        <a:ext cx="1466350" cy="918351"/>
      </dsp:txXfrm>
    </dsp:sp>
    <dsp:sp modelId="{5DD6297F-2E1D-B04D-9FF2-52EAA16615A7}">
      <dsp:nvSpPr>
        <dsp:cNvPr id="0" name=""/>
        <dsp:cNvSpPr/>
      </dsp:nvSpPr>
      <dsp:spPr>
        <a:xfrm>
          <a:off x="2735769" y="510407"/>
          <a:ext cx="4071853" cy="4071853"/>
        </a:xfrm>
        <a:custGeom>
          <a:avLst/>
          <a:gdLst/>
          <a:ahLst/>
          <a:cxnLst/>
          <a:rect l="0" t="0" r="0" b="0"/>
          <a:pathLst>
            <a:path>
              <a:moveTo>
                <a:pt x="4069026" y="1928675"/>
              </a:moveTo>
              <a:arcTo wR="2035926" hR="2035926" stAng="21418817" swAng="2198677"/>
            </a:path>
          </a:pathLst>
        </a:custGeom>
        <a:noFill/>
        <a:ln w="6350" cap="flat" cmpd="sng" algn="ctr">
          <a:solidFill>
            <a:schemeClr val="accent2">
              <a:shade val="90000"/>
              <a:hueOff val="286021"/>
              <a:satOff val="-16839"/>
              <a:lumOff val="17055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BB023D-3C3B-E140-9FF1-F09B9DC3AC91}">
      <dsp:nvSpPr>
        <dsp:cNvPr id="0" name=""/>
        <dsp:cNvSpPr/>
      </dsp:nvSpPr>
      <dsp:spPr>
        <a:xfrm>
          <a:off x="5185527" y="3684577"/>
          <a:ext cx="1565712" cy="1017713"/>
        </a:xfrm>
        <a:prstGeom prst="roundRect">
          <a:avLst/>
        </a:prstGeom>
        <a:solidFill>
          <a:schemeClr val="accent2">
            <a:shade val="50000"/>
            <a:hueOff val="572668"/>
            <a:satOff val="-34176"/>
            <a:lumOff val="43219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ontinuous improvement towards excellence</a:t>
          </a:r>
          <a:r>
            <a:rPr lang="en-US" sz="1400" b="1" kern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 </a:t>
          </a:r>
          <a:endParaRPr lang="en-US" sz="1400" kern="1200" dirty="0"/>
        </a:p>
      </dsp:txBody>
      <dsp:txXfrm>
        <a:off x="5235208" y="3734258"/>
        <a:ext cx="1466350" cy="918351"/>
      </dsp:txXfrm>
    </dsp:sp>
    <dsp:sp modelId="{E719D6B9-DDF3-1D42-A66F-E6DC43053D21}">
      <dsp:nvSpPr>
        <dsp:cNvPr id="0" name=""/>
        <dsp:cNvSpPr/>
      </dsp:nvSpPr>
      <dsp:spPr>
        <a:xfrm>
          <a:off x="2735769" y="510407"/>
          <a:ext cx="4071853" cy="4071853"/>
        </a:xfrm>
        <a:custGeom>
          <a:avLst/>
          <a:gdLst/>
          <a:ahLst/>
          <a:cxnLst/>
          <a:rect l="0" t="0" r="0" b="0"/>
          <a:pathLst>
            <a:path>
              <a:moveTo>
                <a:pt x="2441651" y="4031017"/>
              </a:moveTo>
              <a:arcTo wR="2035926" hR="2035926" stAng="4710301" swAng="1379399"/>
            </a:path>
          </a:pathLst>
        </a:custGeom>
        <a:noFill/>
        <a:ln w="6350" cap="flat" cmpd="sng" algn="ctr">
          <a:solidFill>
            <a:schemeClr val="accent2">
              <a:shade val="90000"/>
              <a:hueOff val="572043"/>
              <a:satOff val="-33678"/>
              <a:lumOff val="3411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972CDF-E42B-6E4F-84E2-C2253716F403}">
      <dsp:nvSpPr>
        <dsp:cNvPr id="0" name=""/>
        <dsp:cNvSpPr/>
      </dsp:nvSpPr>
      <dsp:spPr>
        <a:xfrm>
          <a:off x="2792152" y="3684577"/>
          <a:ext cx="1565712" cy="1017713"/>
        </a:xfrm>
        <a:prstGeom prst="roundRect">
          <a:avLst/>
        </a:prstGeom>
        <a:solidFill>
          <a:schemeClr val="accent2">
            <a:shade val="50000"/>
            <a:hueOff val="572668"/>
            <a:satOff val="-34176"/>
            <a:lumOff val="43219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Decision-making, steering and leadership</a:t>
          </a:r>
          <a:endParaRPr lang="en-US" sz="1400" kern="1200" dirty="0"/>
        </a:p>
      </dsp:txBody>
      <dsp:txXfrm>
        <a:off x="2841833" y="3734258"/>
        <a:ext cx="1466350" cy="918351"/>
      </dsp:txXfrm>
    </dsp:sp>
    <dsp:sp modelId="{0ACE8FAD-8EFC-6240-B399-1D77FFBCA54E}">
      <dsp:nvSpPr>
        <dsp:cNvPr id="0" name=""/>
        <dsp:cNvSpPr/>
      </dsp:nvSpPr>
      <dsp:spPr>
        <a:xfrm>
          <a:off x="2735769" y="510407"/>
          <a:ext cx="4071853" cy="4071853"/>
        </a:xfrm>
        <a:custGeom>
          <a:avLst/>
          <a:gdLst/>
          <a:ahLst/>
          <a:cxnLst/>
          <a:rect l="0" t="0" r="0" b="0"/>
          <a:pathLst>
            <a:path>
              <a:moveTo>
                <a:pt x="340649" y="3163328"/>
              </a:moveTo>
              <a:arcTo wR="2035926" hR="2035926" stAng="8782507" swAng="2198677"/>
            </a:path>
          </a:pathLst>
        </a:custGeom>
        <a:noFill/>
        <a:ln w="6350" cap="flat" cmpd="sng" algn="ctr">
          <a:solidFill>
            <a:schemeClr val="accent2">
              <a:shade val="90000"/>
              <a:hueOff val="572043"/>
              <a:satOff val="-33678"/>
              <a:lumOff val="3411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CC1747-F861-9C4C-BB69-0BC9F8704019}">
      <dsp:nvSpPr>
        <dsp:cNvPr id="0" name=""/>
        <dsp:cNvSpPr/>
      </dsp:nvSpPr>
      <dsp:spPr>
        <a:xfrm>
          <a:off x="2052558" y="1408341"/>
          <a:ext cx="1565712" cy="1017713"/>
        </a:xfrm>
        <a:prstGeom prst="roundRect">
          <a:avLst/>
        </a:prstGeom>
        <a:solidFill>
          <a:schemeClr val="accent2">
            <a:shade val="50000"/>
            <a:hueOff val="286334"/>
            <a:satOff val="-17088"/>
            <a:lumOff val="2161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ompetences and result-orientation</a:t>
          </a:r>
          <a:endParaRPr lang="en-US" sz="1400" kern="1200" dirty="0"/>
        </a:p>
      </dsp:txBody>
      <dsp:txXfrm>
        <a:off x="2102239" y="1458022"/>
        <a:ext cx="1466350" cy="918351"/>
      </dsp:txXfrm>
    </dsp:sp>
    <dsp:sp modelId="{D0583BEB-4763-7D47-A593-3CA21FCCA33F}">
      <dsp:nvSpPr>
        <dsp:cNvPr id="0" name=""/>
        <dsp:cNvSpPr/>
      </dsp:nvSpPr>
      <dsp:spPr>
        <a:xfrm>
          <a:off x="2735769" y="510407"/>
          <a:ext cx="4071853" cy="4071853"/>
        </a:xfrm>
        <a:custGeom>
          <a:avLst/>
          <a:gdLst/>
          <a:ahLst/>
          <a:cxnLst/>
          <a:rect l="0" t="0" r="0" b="0"/>
          <a:pathLst>
            <a:path>
              <a:moveTo>
                <a:pt x="354309" y="888250"/>
              </a:moveTo>
              <a:arcTo wR="2035926" hR="2035926" stAng="12858775" swAng="1964626"/>
            </a:path>
          </a:pathLst>
        </a:custGeom>
        <a:noFill/>
        <a:ln w="6350" cap="flat" cmpd="sng" algn="ctr">
          <a:solidFill>
            <a:schemeClr val="accent2">
              <a:shade val="90000"/>
              <a:hueOff val="286021"/>
              <a:satOff val="-16839"/>
              <a:lumOff val="17055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2CCD9-6F01-4011-B571-3957A6F7E709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23.01.24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CC8460-34F5-425F-A0B5-7C13CBA5C2E3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659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19A70C-7D1D-4F95-AA0A-6D0338EE8089}" type="datetimeFigureOut">
              <a:rPr lang="de-DE" smtClean="0"/>
              <a:pPr/>
              <a:t>23.01.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252413" y="685800"/>
            <a:ext cx="6092826" cy="342900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69711" y="4343400"/>
            <a:ext cx="6064956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72ADED-F3CA-41CF-9877-309ADD1D734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1165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indent="0" algn="l" defTabSz="801654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57806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15612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73418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D36D51-36CE-4CD4-A753-B3178D82F217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294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Google Shape;664;p10:notes"/>
          <p:cNvSpPr txBox="1">
            <a:spLocks noGrp="1"/>
          </p:cNvSpPr>
          <p:nvPr>
            <p:ph type="body" idx="1"/>
          </p:nvPr>
        </p:nvSpPr>
        <p:spPr>
          <a:xfrm>
            <a:off x="369711" y="4343400"/>
            <a:ext cx="6064956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/>
          </a:p>
        </p:txBody>
      </p:sp>
      <p:sp>
        <p:nvSpPr>
          <p:cNvPr id="665" name="Google Shape;665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52413" y="685800"/>
            <a:ext cx="6092826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7:notes"/>
          <p:cNvSpPr txBox="1">
            <a:spLocks noGrp="1"/>
          </p:cNvSpPr>
          <p:nvPr>
            <p:ph type="body" idx="1"/>
          </p:nvPr>
        </p:nvSpPr>
        <p:spPr>
          <a:xfrm>
            <a:off x="369711" y="4343400"/>
            <a:ext cx="6064956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  <p:sp>
        <p:nvSpPr>
          <p:cNvPr id="208" name="Google Shape;20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52413" y="685800"/>
            <a:ext cx="6092826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6</a:t>
            </a:fld>
            <a:endParaRPr sz="1200" b="0" i="0" u="none" strike="noStrike" cap="none">
              <a:solidFill>
                <a:srgbClr val="00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353" name="Google Shape;353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5491163" y="382588"/>
            <a:ext cx="3397250" cy="19113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354" name="Google Shape;354;p26:notes"/>
          <p:cNvSpPr txBox="1">
            <a:spLocks noGrp="1"/>
          </p:cNvSpPr>
          <p:nvPr>
            <p:ph type="body" idx="1"/>
          </p:nvPr>
        </p:nvSpPr>
        <p:spPr>
          <a:xfrm>
            <a:off x="1917519" y="2422566"/>
            <a:ext cx="10541278" cy="2293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91440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4:notes"/>
          <p:cNvSpPr txBox="1">
            <a:spLocks noGrp="1"/>
          </p:cNvSpPr>
          <p:nvPr>
            <p:ph type="body" idx="1"/>
          </p:nvPr>
        </p:nvSpPr>
        <p:spPr>
          <a:xfrm>
            <a:off x="369711" y="4343400"/>
            <a:ext cx="6064956" cy="4114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52413" y="685800"/>
            <a:ext cx="6092826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g281b3a7bbb6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52413" y="685800"/>
            <a:ext cx="6092826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1" name="Google Shape;151;g281b3a7bbb6_0_0:notes"/>
          <p:cNvSpPr txBox="1">
            <a:spLocks noGrp="1"/>
          </p:cNvSpPr>
          <p:nvPr>
            <p:ph type="body" idx="1"/>
          </p:nvPr>
        </p:nvSpPr>
        <p:spPr>
          <a:xfrm>
            <a:off x="369711" y="4343400"/>
            <a:ext cx="6065100" cy="4114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2" name="Google Shape;152;g281b3a7bbb6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FAD9BA7D-C215-EB4C-9811-B37819C0EB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" y="9660"/>
            <a:ext cx="12183052" cy="6859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DDFEEC-E6CF-0A4D-90E9-708AA8FA4D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7398" y="2299416"/>
            <a:ext cx="5621572" cy="2388153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lnSpc>
                <a:spcPct val="150000"/>
              </a:lnSpc>
              <a:defRPr sz="2800"/>
            </a:lvl1pPr>
          </a:lstStyle>
          <a:p>
            <a:pPr algn="ctr">
              <a:lnSpc>
                <a:spcPct val="150000"/>
              </a:lnSpc>
            </a:pPr>
            <a:r>
              <a:rPr lang="fi-FI" sz="4000" b="1" dirty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TITLE OF THE SECTION COM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5130FC-BF28-8243-9AA6-444EACBE97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963" y="6434314"/>
            <a:ext cx="693200" cy="293917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41D2F17-85FC-884E-98A6-D3EB8CE58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69BB54C-68A5-5148-B134-46715A01E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585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1DD6B-CF3B-1A4E-8D99-B8CBF79F2B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91C086-68C2-7848-AF25-D6E268BCD8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92A6966-2D45-B24A-84AF-E66A3E62A5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B68F0DF-617B-B54C-B7FF-DD07749D0B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262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4723CD-5591-6441-9A9D-B251C7ED00E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723764" y="365209"/>
            <a:ext cx="2628558" cy="5813184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E6FD7E-F7F8-6441-B7BD-FC8B75B6A4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14AFCA1-BCD6-334E-B0C1-AD1395364E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18425D3-D3FD-EE4B-B758-6AAE099C0F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341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1272115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4" y="1616488"/>
            <a:ext cx="11520487" cy="4561907"/>
          </a:xfrm>
        </p:spPr>
        <p:txBody>
          <a:bodyPr>
            <a:normAutofit/>
          </a:bodyPr>
          <a:lstStyle>
            <a:lvl1pPr>
              <a:defRPr sz="14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000" b="1" i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>
              <a:defRPr sz="18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4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4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4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ctr" defTabSz="9144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5" indent="0" algn="l" defTabSz="9144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414" indent="0" algn="l" defTabSz="9144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621" indent="0" algn="l" defTabSz="9144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827" indent="0" algn="l" defTabSz="9144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8C4D877-2A59-3F4E-8593-BB70E67C70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7" y="6463412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© Omnia Education Partnerships 2021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B83EC1-3FA4-164F-B935-956375F4B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8" y="6456286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9A055BE-2A5B-7348-BA3F-1A5984E64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951115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0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FAD9BA7D-C215-EB4C-9811-B37819C0EB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0" y="9660"/>
            <a:ext cx="12183052" cy="6859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DDFEEC-E6CF-0A4D-90E9-708AA8FA4D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7398" y="2299416"/>
            <a:ext cx="5621572" cy="2388153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lnSpc>
                <a:spcPct val="150000"/>
              </a:lnSpc>
              <a:defRPr sz="2799"/>
            </a:lvl1pPr>
          </a:lstStyle>
          <a:p>
            <a:pPr algn="ctr">
              <a:lnSpc>
                <a:spcPct val="150000"/>
              </a:lnSpc>
            </a:pPr>
            <a:r>
              <a:rPr lang="fi-FI" sz="3999" b="1" dirty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TITLE OF THE SECTION COM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5130FC-BF28-8243-9AA6-444EACBE97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963" y="6434315"/>
            <a:ext cx="693200" cy="293917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41D2F17-85FC-884E-98A6-D3EB8CE58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2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69BB54C-68A5-5148-B134-46715A01E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6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824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12721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4" y="1616488"/>
            <a:ext cx="11520487" cy="4561907"/>
          </a:xfrm>
        </p:spPr>
        <p:txBody>
          <a:bodyPr>
            <a:normAutofit/>
          </a:bodyPr>
          <a:lstStyle>
            <a:lvl1pPr>
              <a:defRPr sz="14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000" b="1" i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>
              <a:defRPr sz="18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4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4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4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ctr" defTabSz="9140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017" indent="0" algn="l" defTabSz="9140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035" indent="0" algn="l" defTabSz="9140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052" indent="0" algn="l" defTabSz="9140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068" indent="0" algn="l" defTabSz="9140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8C4D877-2A59-3F4E-8593-BB70E67C70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2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© Omnia Education Partnerships 2022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B83EC1-3FA4-164F-B935-956375F4B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6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9A055BE-2A5B-7348-BA3F-1A5984E64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00509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53580" y="158781"/>
            <a:ext cx="11884914" cy="439302"/>
          </a:xfrm>
        </p:spPr>
        <p:txBody>
          <a:bodyPr>
            <a:noAutofit/>
          </a:bodyPr>
          <a:lstStyle>
            <a:lvl1pPr>
              <a:defRPr sz="2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51921" y="583263"/>
            <a:ext cx="11884914" cy="58333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1814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55130FC-BF28-8243-9AA6-444EACBE97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963" y="6434314"/>
            <a:ext cx="693200" cy="293917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CF4C99C-D7C1-B2E1-5F9D-7D71D7C630A6}"/>
              </a:ext>
            </a:extLst>
          </p:cNvPr>
          <p:cNvSpPr txBox="1">
            <a:spLocks/>
          </p:cNvSpPr>
          <p:nvPr userDrawn="1"/>
        </p:nvSpPr>
        <p:spPr>
          <a:xfrm>
            <a:off x="4169474" y="6442488"/>
            <a:ext cx="4115872" cy="36521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Omnia Education Partnerships 2023  ┃   </a:t>
            </a:r>
            <a:r>
              <a:rPr lang="en-US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oep.fi</a:t>
            </a:r>
            <a:endParaRPr lang="en-US" sz="1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7B8900-3B5D-D99C-6820-79CC159E8B40}"/>
              </a:ext>
            </a:extLst>
          </p:cNvPr>
          <p:cNvSpPr txBox="1">
            <a:spLocks/>
          </p:cNvSpPr>
          <p:nvPr userDrawn="1"/>
        </p:nvSpPr>
        <p:spPr>
          <a:xfrm>
            <a:off x="9167521" y="6431199"/>
            <a:ext cx="2743914" cy="36521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1EEA229-0096-49BD-81C1-58B039421B74}" type="slidenum">
              <a:rPr lang="en-US" sz="12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60026B2-1268-1581-E52F-3F4BD15182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03343" y="1959353"/>
            <a:ext cx="6382139" cy="268597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732843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3BBAE-42BC-4045-A0D9-152B2DDA34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485029"/>
            <a:ext cx="10514231" cy="110523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800">
                <a:solidFill>
                  <a:srgbClr val="003580"/>
                </a:solidFill>
              </a:defRPr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DB2612-2E68-7D44-B053-1607D986D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2011680"/>
            <a:ext cx="10514231" cy="3896139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1913772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536B-EAB1-5742-9AB4-741B69E994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742" y="2108840"/>
            <a:ext cx="10514231" cy="150053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E4119B-ABCF-E448-8D58-8CB89A209F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742" y="3636370"/>
            <a:ext cx="10514231" cy="150053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r>
              <a:rPr lang="en-GB" dirty="0" err="1"/>
              <a:t>Sub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16990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2ADD0-5560-DB45-A084-0861D0A5F3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B5D5D3-C0BA-2047-B315-4D189D7D8F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1565D6-69E4-9844-BDF9-858B82C321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186958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3BBAE-42BC-4045-A0D9-152B2DDA34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485029"/>
            <a:ext cx="10514231" cy="110523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800">
                <a:solidFill>
                  <a:srgbClr val="003580"/>
                </a:solidFill>
              </a:defRPr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DB2612-2E68-7D44-B053-1607D986D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2011680"/>
            <a:ext cx="10514231" cy="3896139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B8096B7-D95C-3548-94D2-694D060AA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E1BE468-9AEC-DF4A-887A-E02F520736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6817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80853-D03D-6648-8D92-CE8CF18508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679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BBE07-00D2-6248-BD87-AE59FEC17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81DBB3-937A-D946-8002-0A0B539BFF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6EB5D6-7907-4248-9328-C6242F7D76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CFD771-31B7-BA4E-A827-14C75F38A0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40974762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FC78F-9755-EB41-A364-182AFF625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8181536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3561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720C0-2B04-4B40-AFD1-487AB1501B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679" y="457306"/>
            <a:ext cx="3931725" cy="160057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B659A8-347B-B64B-962C-4E5285554C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B3B6B7-93FB-8846-B5E3-E4445322A8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679" y="2361537"/>
            <a:ext cx="3931725" cy="35088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18374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CB00B-0B8C-CD4E-9CA9-F757541F78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679" y="457306"/>
            <a:ext cx="3931725" cy="160057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D06BE8-6BCB-7D43-8C94-0ED258D05C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6C1CD5-5DD2-6A4C-AB91-856EADA1FD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679" y="2441050"/>
            <a:ext cx="3931725" cy="3429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79298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1DD6B-CF3B-1A4E-8D99-B8CBF79F2B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91C086-68C2-7848-AF25-D6E268BCD8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2256340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536B-EAB1-5742-9AB4-741B69E994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742" y="2108840"/>
            <a:ext cx="10514231" cy="150053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E4119B-ABCF-E448-8D58-8CB89A209F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742" y="3636370"/>
            <a:ext cx="10514231" cy="150053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r>
              <a:rPr lang="en-GB" dirty="0" err="1"/>
              <a:t>Subheader</a:t>
            </a:r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1938E57-CF21-9243-88B9-73E4D3776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B796B4A-E57F-474B-A9CC-F7214DC45C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0913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2ADD0-5560-DB45-A084-0861D0A5F3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B5D5D3-C0BA-2047-B315-4D189D7D8F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1565D6-69E4-9844-BDF9-858B82C321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F518D3A-34E3-4B41-9C40-30126C37F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6F5E093-DE11-BC46-A130-309BF90A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299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80853-D03D-6648-8D92-CE8CF18508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679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BBE07-00D2-6248-BD87-AE59FEC17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81DBB3-937A-D946-8002-0A0B539BFF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6EB5D6-7907-4248-9328-C6242F7D76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CFD771-31B7-BA4E-A827-14C75F38A0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F90DE54-A010-7D4B-8C4D-2DD98C562E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5F5A5D7-9DD8-9943-AAEA-963C3CC45F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935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FC78F-9755-EB41-A364-182AFF625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E33B893-0500-8F43-9AC1-276449132F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7208B38-54BB-0444-84F0-7FCC1BFDE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000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4AA3BF6-E5E4-724C-BC1E-31FE31D9B5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FE6031E-17CF-C44B-B7D3-B2C852B60F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268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720C0-2B04-4B40-AFD1-487AB1501B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679" y="457306"/>
            <a:ext cx="3931725" cy="160057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B659A8-347B-B64B-962C-4E5285554C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B3B6B7-93FB-8846-B5E3-E4445322A8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679" y="2361537"/>
            <a:ext cx="3931725" cy="35088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29FFB6E-8A15-0448-ABC0-001BB814D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9707945-391F-8144-8C5F-0B24C03C91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7150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CB00B-0B8C-CD4E-9CA9-F757541F78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679" y="457306"/>
            <a:ext cx="3931725" cy="160057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D06BE8-6BCB-7D43-8C94-0ED258D05C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6C1CD5-5DD2-6A4C-AB91-856EADA1FD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679" y="2441050"/>
            <a:ext cx="3931725" cy="3429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C29707-FE6C-174A-BC1F-4F594ED687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88623B-73FC-4140-8733-6318F90F9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462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theme" Target="../theme/theme2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F417407-5F31-574B-9252-0A07B8E3E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096993-8FA5-494B-A657-B0554EDA0C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091" y="1979875"/>
            <a:ext cx="10514231" cy="39120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4B1B75-7FF1-2B40-ADD0-16AC9D643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74B1B75-7FF1-2B40-ADD0-16AC9D643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1696D6-22E8-1842-BACB-3E0FE7F400A4}"/>
              </a:ext>
            </a:extLst>
          </p:cNvPr>
          <p:cNvSpPr/>
          <p:nvPr userDrawn="1"/>
        </p:nvSpPr>
        <p:spPr>
          <a:xfrm>
            <a:off x="0" y="6313362"/>
            <a:ext cx="12190413" cy="546226"/>
          </a:xfrm>
          <a:prstGeom prst="rect">
            <a:avLst/>
          </a:prstGeom>
          <a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1DBAEEA-E188-8747-A9E4-2B4673AD7C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4" y="6463411"/>
            <a:ext cx="4114264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1FA30-85E6-4547-AB9C-79FE686B1ED7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963" y="6434314"/>
            <a:ext cx="693200" cy="2939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19C74B8-080A-B34E-8C25-6FEA2C099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4207" y="6456285"/>
            <a:ext cx="2742843" cy="365210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789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840" r:id="rId12"/>
    <p:sldLayoutId id="2147483841" r:id="rId13"/>
    <p:sldLayoutId id="2147483842" r:id="rId14"/>
    <p:sldLayoutId id="2147483843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rgbClr val="003580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rgbClr val="003580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F417407-5F31-574B-9252-0A07B8E3E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096993-8FA5-494B-A657-B0554EDA0C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091" y="1979875"/>
            <a:ext cx="10514231" cy="39120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4B1B75-7FF1-2B40-ADD0-16AC9D643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74B1B75-7FF1-2B40-ADD0-16AC9D643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1696D6-22E8-1842-BACB-3E0FE7F400A4}"/>
              </a:ext>
            </a:extLst>
          </p:cNvPr>
          <p:cNvSpPr/>
          <p:nvPr userDrawn="1"/>
        </p:nvSpPr>
        <p:spPr>
          <a:xfrm>
            <a:off x="0" y="6313362"/>
            <a:ext cx="12190413" cy="546226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1FA30-85E6-4547-AB9C-79FE686B1E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963" y="6434314"/>
            <a:ext cx="693200" cy="293917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EA139F5-8163-AE3A-EFAF-DA089558A039}"/>
              </a:ext>
            </a:extLst>
          </p:cNvPr>
          <p:cNvSpPr txBox="1">
            <a:spLocks/>
          </p:cNvSpPr>
          <p:nvPr userDrawn="1"/>
        </p:nvSpPr>
        <p:spPr>
          <a:xfrm>
            <a:off x="4169474" y="6442488"/>
            <a:ext cx="4115872" cy="36521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Omnia Education Partnerships 2023  ┃   </a:t>
            </a:r>
            <a:r>
              <a:rPr lang="en-US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oep.fi</a:t>
            </a:r>
            <a:endParaRPr lang="en-US" sz="1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964F17-FF6A-04E6-7290-18C8ED0C2AE3}"/>
              </a:ext>
            </a:extLst>
          </p:cNvPr>
          <p:cNvSpPr txBox="1">
            <a:spLocks/>
          </p:cNvSpPr>
          <p:nvPr userDrawn="1"/>
        </p:nvSpPr>
        <p:spPr>
          <a:xfrm>
            <a:off x="9167521" y="6431199"/>
            <a:ext cx="2743914" cy="36521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1EEA229-0096-49BD-81C1-58B039421B74}" type="slidenum">
              <a:rPr lang="en-US" sz="12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50614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rgbClr val="003580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rgbClr val="003580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F417407-5F31-574B-9252-0A07B8E3E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HEADER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096993-8FA5-494B-A657-B0554EDA0C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091" y="1979875"/>
            <a:ext cx="10514231" cy="39120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4B1B75-7FF1-2B40-ADD0-16AC9D643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3" imgH="384" progId="TCLayout.ActiveDocument.1">
                  <p:embed/>
                </p:oleObj>
              </mc:Choice>
              <mc:Fallback>
                <p:oleObj name="think-cell Slide" r:id="rId1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74B1B75-7FF1-2B40-ADD0-16AC9D643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1696D6-22E8-1842-BACB-3E0FE7F400A4}"/>
              </a:ext>
            </a:extLst>
          </p:cNvPr>
          <p:cNvSpPr/>
          <p:nvPr userDrawn="1"/>
        </p:nvSpPr>
        <p:spPr>
          <a:xfrm>
            <a:off x="0" y="6313362"/>
            <a:ext cx="12190413" cy="546226"/>
          </a:xfrm>
          <a:prstGeom prst="rect">
            <a:avLst/>
          </a:prstGeom>
          <a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41FA30-85E6-4547-AB9C-79FE686B1ED7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963" y="6434314"/>
            <a:ext cx="693200" cy="293917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EA139F5-8163-AE3A-EFAF-DA089558A039}"/>
              </a:ext>
            </a:extLst>
          </p:cNvPr>
          <p:cNvSpPr txBox="1">
            <a:spLocks/>
          </p:cNvSpPr>
          <p:nvPr userDrawn="1"/>
        </p:nvSpPr>
        <p:spPr>
          <a:xfrm>
            <a:off x="4169474" y="6442488"/>
            <a:ext cx="4115872" cy="36521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Omnia Education Partnerships 2023  ┃   </a:t>
            </a:r>
            <a:r>
              <a:rPr lang="en-US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oep.fi</a:t>
            </a:r>
            <a:endParaRPr lang="en-US" sz="1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964F17-FF6A-04E6-7290-18C8ED0C2AE3}"/>
              </a:ext>
            </a:extLst>
          </p:cNvPr>
          <p:cNvSpPr txBox="1">
            <a:spLocks/>
          </p:cNvSpPr>
          <p:nvPr userDrawn="1"/>
        </p:nvSpPr>
        <p:spPr>
          <a:xfrm>
            <a:off x="9167521" y="6431199"/>
            <a:ext cx="2743914" cy="36521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1EEA229-0096-49BD-81C1-58B039421B74}" type="slidenum">
              <a:rPr lang="en-US" sz="12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671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rgbClr val="003580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rgbClr val="003580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sv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EB83D03-69A9-8948-87DB-8CB2A0ACCC79}"/>
              </a:ext>
            </a:extLst>
          </p:cNvPr>
          <p:cNvSpPr/>
          <p:nvPr/>
        </p:nvSpPr>
        <p:spPr>
          <a:xfrm>
            <a:off x="946607" y="3162942"/>
            <a:ext cx="10340202" cy="33752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816541" dist="38100" dir="5400000" algn="t" rotWithShape="0">
              <a:schemeClr val="tx2">
                <a:alpha val="32418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n-FI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93408" y="3887242"/>
            <a:ext cx="10340202" cy="3641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852">
              <a:lnSpc>
                <a:spcPct val="70000"/>
              </a:lnSpc>
              <a:defRPr/>
            </a:pPr>
            <a:r>
              <a:rPr lang="en-US" sz="3198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NAME OF THE PROGRAMME</a:t>
            </a:r>
          </a:p>
        </p:txBody>
      </p:sp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78799CCB-BCB0-1F46-A2B6-EDA8BBCE46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638" y="5438047"/>
            <a:ext cx="1355870" cy="5712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11A9CB0-92B9-0947-A03B-DEDB315FBB50}"/>
              </a:ext>
            </a:extLst>
          </p:cNvPr>
          <p:cNvSpPr txBox="1"/>
          <p:nvPr/>
        </p:nvSpPr>
        <p:spPr>
          <a:xfrm>
            <a:off x="964512" y="4763373"/>
            <a:ext cx="10304397" cy="645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852">
              <a:defRPr/>
            </a:pPr>
            <a:r>
              <a:rPr lang="en-US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posal</a:t>
            </a:r>
            <a:endParaRPr lang="en-US" sz="4398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913852">
              <a:defRPr/>
            </a:pPr>
            <a:endParaRPr lang="en-FI" dirty="0">
              <a:solidFill>
                <a:prstClr val="black"/>
              </a:solidFill>
              <a:latin typeface="Open Sans" panose="020B0606030504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FF97AA-900B-9A99-D914-3D450E78B2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9" y="-10453"/>
            <a:ext cx="12195025" cy="704872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0AAD69C-E293-DE42-50B8-F0F187471A89}"/>
              </a:ext>
            </a:extLst>
          </p:cNvPr>
          <p:cNvSpPr/>
          <p:nvPr/>
        </p:nvSpPr>
        <p:spPr>
          <a:xfrm>
            <a:off x="75630" y="-10455"/>
            <a:ext cx="12257271" cy="7095882"/>
          </a:xfrm>
          <a:prstGeom prst="rect">
            <a:avLst/>
          </a:prstGeom>
          <a:gradFill>
            <a:gsLst>
              <a:gs pos="0">
                <a:schemeClr val="accent1">
                  <a:alpha val="4000"/>
                </a:schemeClr>
              </a:gs>
              <a:gs pos="10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n-FI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192A71-0EF2-6E41-AF70-463C9F74CFFF}"/>
              </a:ext>
            </a:extLst>
          </p:cNvPr>
          <p:cNvSpPr/>
          <p:nvPr/>
        </p:nvSpPr>
        <p:spPr>
          <a:xfrm>
            <a:off x="-129059" y="4304242"/>
            <a:ext cx="12484342" cy="2905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n-FI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1EE6C1-8E11-EE8E-0B66-6D4D42F57644}"/>
              </a:ext>
            </a:extLst>
          </p:cNvPr>
          <p:cNvSpPr/>
          <p:nvPr/>
        </p:nvSpPr>
        <p:spPr>
          <a:xfrm>
            <a:off x="1098896" y="3315233"/>
            <a:ext cx="10340202" cy="33752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816541" dist="38100" dir="5400000" algn="t" rotWithShape="0">
              <a:schemeClr val="tx2">
                <a:alpha val="32418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n-FI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D997A1-07E0-C256-8DAD-2DBE57C6857C}"/>
              </a:ext>
            </a:extLst>
          </p:cNvPr>
          <p:cNvSpPr txBox="1"/>
          <p:nvPr/>
        </p:nvSpPr>
        <p:spPr>
          <a:xfrm>
            <a:off x="964510" y="3716131"/>
            <a:ext cx="10340202" cy="1045684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algn="ctr" defTabSz="913852"/>
            <a:r>
              <a:rPr lang="en-US" sz="2400" b="1" cap="all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EXCELLENCE AT SYSTEM LEVEL:</a:t>
            </a:r>
          </a:p>
          <a:p>
            <a:pPr algn="ctr" defTabSz="913852"/>
            <a:r>
              <a:rPr lang="en-US" sz="2400" b="1" cap="all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OPPORTUNITIES AND CHALLENGES</a:t>
            </a:r>
          </a:p>
        </p:txBody>
      </p:sp>
      <p:pic>
        <p:nvPicPr>
          <p:cNvPr id="14" name="Picture 13" descr="A picture containing icon&#10;&#10;Description automatically generated">
            <a:extLst>
              <a:ext uri="{FF2B5EF4-FFF2-40B4-BE49-F238E27FC236}">
                <a16:creationId xmlns:a16="http://schemas.microsoft.com/office/drawing/2014/main" id="{E77674F5-984F-EEE7-02C2-0A53DFE961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638" y="5645259"/>
            <a:ext cx="1355870" cy="5712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55AA787-1E51-F9D6-82A6-ACF7FB72D377}"/>
              </a:ext>
            </a:extLst>
          </p:cNvPr>
          <p:cNvSpPr txBox="1"/>
          <p:nvPr/>
        </p:nvSpPr>
        <p:spPr>
          <a:xfrm>
            <a:off x="2098651" y="4673077"/>
            <a:ext cx="7993110" cy="8308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852">
              <a:defRPr/>
            </a:pPr>
            <a:r>
              <a:rPr lang="fi-FI" sz="16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vi Jansson</a:t>
            </a:r>
          </a:p>
          <a:p>
            <a:pPr algn="ctr" defTabSz="913852">
              <a:defRPr/>
            </a:pPr>
            <a:r>
              <a:rPr lang="fi-FI" sz="16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O, Omnia Education Partnerships Ltd.</a:t>
            </a:r>
          </a:p>
          <a:p>
            <a:pPr algn="ctr" defTabSz="913852">
              <a:defRPr/>
            </a:pPr>
            <a:r>
              <a:rPr lang="fi-FI" sz="16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ir of VETQA </a:t>
            </a:r>
            <a:r>
              <a:rPr lang="fi-FI" sz="1600" b="1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ittee</a:t>
            </a:r>
            <a:r>
              <a:rPr lang="fi-FI" sz="16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inland</a:t>
            </a:r>
          </a:p>
        </p:txBody>
      </p:sp>
    </p:spTree>
    <p:extLst>
      <p:ext uri="{BB962C8B-B14F-4D97-AF65-F5344CB8AC3E}">
        <p14:creationId xmlns:p14="http://schemas.microsoft.com/office/powerpoint/2010/main" val="1496577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96CCF48-1CFA-1745-8396-D73792FD529B}"/>
              </a:ext>
            </a:extLst>
          </p:cNvPr>
          <p:cNvGrpSpPr/>
          <p:nvPr/>
        </p:nvGrpSpPr>
        <p:grpSpPr>
          <a:xfrm>
            <a:off x="880951" y="1531113"/>
            <a:ext cx="10616483" cy="2638256"/>
            <a:chOff x="2442437" y="4061187"/>
            <a:chExt cx="7739100" cy="1923210"/>
          </a:xfrm>
        </p:grpSpPr>
        <p:sp>
          <p:nvSpPr>
            <p:cNvPr id="126" name="Arc 125">
              <a:extLst>
                <a:ext uri="{FF2B5EF4-FFF2-40B4-BE49-F238E27FC236}">
                  <a16:creationId xmlns:a16="http://schemas.microsoft.com/office/drawing/2014/main" id="{2AB68CDA-9754-0544-BCA2-8BB3385880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42437" y="4061187"/>
              <a:ext cx="1923210" cy="1923210"/>
            </a:xfrm>
            <a:prstGeom prst="arc">
              <a:avLst>
                <a:gd name="adj1" fmla="val 6370062"/>
                <a:gd name="adj2" fmla="val 0"/>
              </a:avLst>
            </a:prstGeom>
            <a:ln w="31750" cap="rnd">
              <a:prstDash val="sysDot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27" name="Arc 126">
              <a:extLst>
                <a:ext uri="{FF2B5EF4-FFF2-40B4-BE49-F238E27FC236}">
                  <a16:creationId xmlns:a16="http://schemas.microsoft.com/office/drawing/2014/main" id="{1CAC3915-7378-5948-8193-30B0903215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1068" y="4061187"/>
              <a:ext cx="1923210" cy="1923210"/>
            </a:xfrm>
            <a:prstGeom prst="arc">
              <a:avLst>
                <a:gd name="adj1" fmla="val 514437"/>
                <a:gd name="adj2" fmla="val 10756804"/>
              </a:avLst>
            </a:prstGeom>
            <a:ln w="31750" cap="rnd">
              <a:prstDash val="sysDot"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2057FA4A-796D-4C4D-99DB-8378675250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19698" y="4061187"/>
              <a:ext cx="1923210" cy="1923210"/>
            </a:xfrm>
            <a:prstGeom prst="arc">
              <a:avLst>
                <a:gd name="adj1" fmla="val 10398960"/>
                <a:gd name="adj2" fmla="val 159841"/>
              </a:avLst>
            </a:prstGeom>
            <a:ln w="31750" cap="rnd"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29" name="Arc 128">
              <a:extLst>
                <a:ext uri="{FF2B5EF4-FFF2-40B4-BE49-F238E27FC236}">
                  <a16:creationId xmlns:a16="http://schemas.microsoft.com/office/drawing/2014/main" id="{6F22EC6F-B3F1-4B4F-A759-6045895F12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58327" y="4061187"/>
              <a:ext cx="1923210" cy="1923210"/>
            </a:xfrm>
            <a:prstGeom prst="arc">
              <a:avLst>
                <a:gd name="adj1" fmla="val 16379680"/>
                <a:gd name="adj2" fmla="val 10713006"/>
              </a:avLst>
            </a:prstGeom>
            <a:ln w="31750" cap="rnd">
              <a:prstDash val="sysDot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F269BD9C-F5A6-C54F-9702-973F1486EA9E}"/>
                </a:ext>
              </a:extLst>
            </p:cNvPr>
            <p:cNvSpPr/>
            <p:nvPr/>
          </p:nvSpPr>
          <p:spPr bwMode="auto">
            <a:xfrm>
              <a:off x="8467259" y="4270119"/>
              <a:ext cx="1505346" cy="150534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/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5D223350-EFFA-EA41-BBB6-BD1ECC69B28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28779" y="4331639"/>
              <a:ext cx="1382307" cy="1382307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/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E7BADF38-8B3E-D84A-80AF-10BB536C607B}"/>
                </a:ext>
              </a:extLst>
            </p:cNvPr>
            <p:cNvSpPr/>
            <p:nvPr/>
          </p:nvSpPr>
          <p:spPr bwMode="auto">
            <a:xfrm>
              <a:off x="2651369" y="4270119"/>
              <a:ext cx="1505346" cy="1505346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/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1ED1218-1859-0140-98F7-79CFB3C3FF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12810" y="4331639"/>
              <a:ext cx="1382307" cy="1382307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BA7788E-8A4D-CF48-AD2C-9FABE67E65DD}"/>
                </a:ext>
              </a:extLst>
            </p:cNvPr>
            <p:cNvSpPr/>
            <p:nvPr/>
          </p:nvSpPr>
          <p:spPr>
            <a:xfrm>
              <a:off x="3031295" y="5243864"/>
              <a:ext cx="745342" cy="3365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LEARN</a:t>
              </a:r>
              <a:endParaRPr lang="en-IN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EF82A47E-1845-064F-9E1D-CE5022470FE3}"/>
                </a:ext>
              </a:extLst>
            </p:cNvPr>
            <p:cNvSpPr/>
            <p:nvPr/>
          </p:nvSpPr>
          <p:spPr bwMode="auto">
            <a:xfrm>
              <a:off x="4590000" y="4270119"/>
              <a:ext cx="1505346" cy="150534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/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E32BBB31-6200-8744-B84F-72B73E996A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51520" y="4331639"/>
              <a:ext cx="1382307" cy="1382307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A1CE8795-1E38-9B43-9BC1-584FCCAC09BE}"/>
                </a:ext>
              </a:extLst>
            </p:cNvPr>
            <p:cNvSpPr/>
            <p:nvPr/>
          </p:nvSpPr>
          <p:spPr>
            <a:xfrm>
              <a:off x="4992509" y="5234236"/>
              <a:ext cx="700330" cy="3365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APPLY</a:t>
              </a: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914A9C29-0297-4D48-9042-14B1C410EC40}"/>
                </a:ext>
              </a:extLst>
            </p:cNvPr>
            <p:cNvSpPr/>
            <p:nvPr/>
          </p:nvSpPr>
          <p:spPr bwMode="auto">
            <a:xfrm>
              <a:off x="6528630" y="4270119"/>
              <a:ext cx="1505346" cy="150534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/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D07DE42-D68D-AC48-8CFB-8A40454A859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90150" y="4331639"/>
              <a:ext cx="1382307" cy="1382307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txBody>
            <a:bodyPr vert="horz" wrap="square" lIns="91440" tIns="45721" rIns="91440" bIns="4572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CBA064DE-E347-4949-B779-8E67AFB38BD5}"/>
                </a:ext>
              </a:extLst>
            </p:cNvPr>
            <p:cNvSpPr/>
            <p:nvPr/>
          </p:nvSpPr>
          <p:spPr>
            <a:xfrm>
              <a:off x="6828305" y="5203572"/>
              <a:ext cx="905993" cy="3365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REFLECT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C0D1C5F-A237-E541-8333-9C825F2CA517}"/>
                </a:ext>
              </a:extLst>
            </p:cNvPr>
            <p:cNvSpPr/>
            <p:nvPr/>
          </p:nvSpPr>
          <p:spPr>
            <a:xfrm>
              <a:off x="8744889" y="5213035"/>
              <a:ext cx="990736" cy="3365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DEVELOP</a:t>
              </a:r>
            </a:p>
          </p:txBody>
        </p:sp>
        <p:grpSp>
          <p:nvGrpSpPr>
            <p:cNvPr id="142" name="Graphic 4">
              <a:extLst>
                <a:ext uri="{FF2B5EF4-FFF2-40B4-BE49-F238E27FC236}">
                  <a16:creationId xmlns:a16="http://schemas.microsoft.com/office/drawing/2014/main" id="{A78E3F65-F8F6-1B43-BAEF-62DC45152B65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3045188" y="4505810"/>
              <a:ext cx="683011" cy="683011"/>
              <a:chOff x="1423987" y="280987"/>
              <a:chExt cx="6296025" cy="6296025"/>
            </a:xfrm>
            <a:solidFill>
              <a:schemeClr val="bg1"/>
            </a:solidFill>
          </p:grpSpPr>
          <p:sp>
            <p:nvSpPr>
              <p:cNvPr id="188" name="Freeform: Shape 6">
                <a:extLst>
                  <a:ext uri="{FF2B5EF4-FFF2-40B4-BE49-F238E27FC236}">
                    <a16:creationId xmlns:a16="http://schemas.microsoft.com/office/drawing/2014/main" id="{11F4A706-B950-1F47-B79B-B4D67304E398}"/>
                  </a:ext>
                </a:extLst>
              </p:cNvPr>
              <p:cNvSpPr/>
              <p:nvPr/>
            </p:nvSpPr>
            <p:spPr>
              <a:xfrm>
                <a:off x="1423987" y="280987"/>
                <a:ext cx="6296025" cy="6296025"/>
              </a:xfrm>
              <a:custGeom>
                <a:avLst/>
                <a:gdLst>
                  <a:gd name="connsiteX0" fmla="*/ 6296025 w 6296025"/>
                  <a:gd name="connsiteY0" fmla="*/ 3148013 h 6296025"/>
                  <a:gd name="connsiteX1" fmla="*/ 3148013 w 6296025"/>
                  <a:gd name="connsiteY1" fmla="*/ 0 h 6296025"/>
                  <a:gd name="connsiteX2" fmla="*/ 1421683 w 6296025"/>
                  <a:gd name="connsiteY2" fmla="*/ 517314 h 6296025"/>
                  <a:gd name="connsiteX3" fmla="*/ 1421683 w 6296025"/>
                  <a:gd name="connsiteY3" fmla="*/ 0 h 6296025"/>
                  <a:gd name="connsiteX4" fmla="*/ 913939 w 6296025"/>
                  <a:gd name="connsiteY4" fmla="*/ 0 h 6296025"/>
                  <a:gd name="connsiteX5" fmla="*/ 406195 w 6296025"/>
                  <a:gd name="connsiteY5" fmla="*/ 507744 h 6296025"/>
                  <a:gd name="connsiteX6" fmla="*/ 406195 w 6296025"/>
                  <a:gd name="connsiteY6" fmla="*/ 1601818 h 6296025"/>
                  <a:gd name="connsiteX7" fmla="*/ 0 w 6296025"/>
                  <a:gd name="connsiteY7" fmla="*/ 3148013 h 6296025"/>
                  <a:gd name="connsiteX8" fmla="*/ 406195 w 6296025"/>
                  <a:gd name="connsiteY8" fmla="*/ 4693166 h 6296025"/>
                  <a:gd name="connsiteX9" fmla="*/ 406195 w 6296025"/>
                  <a:gd name="connsiteY9" fmla="*/ 4772793 h 6296025"/>
                  <a:gd name="connsiteX10" fmla="*/ 824688 w 6296025"/>
                  <a:gd name="connsiteY10" fmla="*/ 5271512 h 6296025"/>
                  <a:gd name="connsiteX11" fmla="*/ 3148013 w 6296025"/>
                  <a:gd name="connsiteY11" fmla="*/ 6296025 h 6296025"/>
                  <a:gd name="connsiteX12" fmla="*/ 3881906 w 6296025"/>
                  <a:gd name="connsiteY12" fmla="*/ 6208808 h 6296025"/>
                  <a:gd name="connsiteX13" fmla="*/ 4163501 w 6296025"/>
                  <a:gd name="connsiteY13" fmla="*/ 6296025 h 6296025"/>
                  <a:gd name="connsiteX14" fmla="*/ 4569696 w 6296025"/>
                  <a:gd name="connsiteY14" fmla="*/ 6092636 h 6296025"/>
                  <a:gd name="connsiteX15" fmla="*/ 4975891 w 6296025"/>
                  <a:gd name="connsiteY15" fmla="*/ 6296025 h 6296025"/>
                  <a:gd name="connsiteX16" fmla="*/ 5479078 w 6296025"/>
                  <a:gd name="connsiteY16" fmla="*/ 5856509 h 6296025"/>
                  <a:gd name="connsiteX17" fmla="*/ 5889830 w 6296025"/>
                  <a:gd name="connsiteY17" fmla="*/ 5280537 h 6296025"/>
                  <a:gd name="connsiteX18" fmla="*/ 5758337 w 6296025"/>
                  <a:gd name="connsiteY18" fmla="*/ 4904489 h 6296025"/>
                  <a:gd name="connsiteX19" fmla="*/ 6296025 w 6296025"/>
                  <a:gd name="connsiteY19" fmla="*/ 3148013 h 6296025"/>
                  <a:gd name="connsiteX20" fmla="*/ 5889830 w 6296025"/>
                  <a:gd name="connsiteY20" fmla="*/ 4222501 h 6296025"/>
                  <a:gd name="connsiteX21" fmla="*/ 5889830 w 6296025"/>
                  <a:gd name="connsiteY21" fmla="*/ 2075454 h 6296025"/>
                  <a:gd name="connsiteX22" fmla="*/ 6092928 w 6296025"/>
                  <a:gd name="connsiteY22" fmla="*/ 3148013 h 6296025"/>
                  <a:gd name="connsiteX23" fmla="*/ 5889830 w 6296025"/>
                  <a:gd name="connsiteY23" fmla="*/ 4222501 h 6296025"/>
                  <a:gd name="connsiteX24" fmla="*/ 3148013 w 6296025"/>
                  <a:gd name="connsiteY24" fmla="*/ 203098 h 6296025"/>
                  <a:gd name="connsiteX25" fmla="*/ 4938699 w 6296025"/>
                  <a:gd name="connsiteY25" fmla="*/ 812390 h 6296025"/>
                  <a:gd name="connsiteX26" fmla="*/ 1421683 w 6296025"/>
                  <a:gd name="connsiteY26" fmla="*/ 812390 h 6296025"/>
                  <a:gd name="connsiteX27" fmla="*/ 1421683 w 6296025"/>
                  <a:gd name="connsiteY27" fmla="*/ 763649 h 6296025"/>
                  <a:gd name="connsiteX28" fmla="*/ 3148013 w 6296025"/>
                  <a:gd name="connsiteY28" fmla="*/ 203098 h 6296025"/>
                  <a:gd name="connsiteX29" fmla="*/ 609293 w 6296025"/>
                  <a:gd name="connsiteY29" fmla="*/ 507744 h 6296025"/>
                  <a:gd name="connsiteX30" fmla="*/ 913939 w 6296025"/>
                  <a:gd name="connsiteY30" fmla="*/ 203098 h 6296025"/>
                  <a:gd name="connsiteX31" fmla="*/ 1218586 w 6296025"/>
                  <a:gd name="connsiteY31" fmla="*/ 203098 h 6296025"/>
                  <a:gd name="connsiteX32" fmla="*/ 1218586 w 6296025"/>
                  <a:gd name="connsiteY32" fmla="*/ 4265049 h 6296025"/>
                  <a:gd name="connsiteX33" fmla="*/ 913939 w 6296025"/>
                  <a:gd name="connsiteY33" fmla="*/ 4265049 h 6296025"/>
                  <a:gd name="connsiteX34" fmla="*/ 609293 w 6296025"/>
                  <a:gd name="connsiteY34" fmla="*/ 4366801 h 6296025"/>
                  <a:gd name="connsiteX35" fmla="*/ 203098 w 6296025"/>
                  <a:gd name="connsiteY35" fmla="*/ 3148013 h 6296025"/>
                  <a:gd name="connsiteX36" fmla="*/ 406195 w 6296025"/>
                  <a:gd name="connsiteY36" fmla="*/ 2075454 h 6296025"/>
                  <a:gd name="connsiteX37" fmla="*/ 406195 w 6296025"/>
                  <a:gd name="connsiteY37" fmla="*/ 4220076 h 6296025"/>
                  <a:gd name="connsiteX38" fmla="*/ 203098 w 6296025"/>
                  <a:gd name="connsiteY38" fmla="*/ 3148013 h 6296025"/>
                  <a:gd name="connsiteX39" fmla="*/ 609293 w 6296025"/>
                  <a:gd name="connsiteY39" fmla="*/ 4772793 h 6296025"/>
                  <a:gd name="connsiteX40" fmla="*/ 913939 w 6296025"/>
                  <a:gd name="connsiteY40" fmla="*/ 4468147 h 6296025"/>
                  <a:gd name="connsiteX41" fmla="*/ 1421683 w 6296025"/>
                  <a:gd name="connsiteY41" fmla="*/ 4468147 h 6296025"/>
                  <a:gd name="connsiteX42" fmla="*/ 1421683 w 6296025"/>
                  <a:gd name="connsiteY42" fmla="*/ 1015488 h 6296025"/>
                  <a:gd name="connsiteX43" fmla="*/ 5175714 w 6296025"/>
                  <a:gd name="connsiteY43" fmla="*/ 1015488 h 6296025"/>
                  <a:gd name="connsiteX44" fmla="*/ 5686733 w 6296025"/>
                  <a:gd name="connsiteY44" fmla="*/ 1658203 h 6296025"/>
                  <a:gd name="connsiteX45" fmla="*/ 5686733 w 6296025"/>
                  <a:gd name="connsiteY45" fmla="*/ 4639764 h 6296025"/>
                  <a:gd name="connsiteX46" fmla="*/ 5606103 w 6296025"/>
                  <a:gd name="connsiteY46" fmla="*/ 4766497 h 6296025"/>
                  <a:gd name="connsiteX47" fmla="*/ 5476844 w 6296025"/>
                  <a:gd name="connsiteY47" fmla="*/ 4705454 h 6296025"/>
                  <a:gd name="connsiteX48" fmla="*/ 5077440 w 6296025"/>
                  <a:gd name="connsiteY48" fmla="*/ 4275318 h 6296025"/>
                  <a:gd name="connsiteX49" fmla="*/ 5077440 w 6296025"/>
                  <a:gd name="connsiteY49" fmla="*/ 1898632 h 6296025"/>
                  <a:gd name="connsiteX50" fmla="*/ 4569696 w 6296025"/>
                  <a:gd name="connsiteY50" fmla="*/ 1137019 h 6296025"/>
                  <a:gd name="connsiteX51" fmla="*/ 4061952 w 6296025"/>
                  <a:gd name="connsiteY51" fmla="*/ 1898632 h 6296025"/>
                  <a:gd name="connsiteX52" fmla="*/ 4061952 w 6296025"/>
                  <a:gd name="connsiteY52" fmla="*/ 4275318 h 6296025"/>
                  <a:gd name="connsiteX53" fmla="*/ 3662548 w 6296025"/>
                  <a:gd name="connsiteY53" fmla="*/ 4705454 h 6296025"/>
                  <a:gd name="connsiteX54" fmla="*/ 3285015 w 6296025"/>
                  <a:gd name="connsiteY54" fmla="*/ 5077440 h 6296025"/>
                  <a:gd name="connsiteX55" fmla="*/ 913939 w 6296025"/>
                  <a:gd name="connsiteY55" fmla="*/ 5077440 h 6296025"/>
                  <a:gd name="connsiteX56" fmla="*/ 609293 w 6296025"/>
                  <a:gd name="connsiteY56" fmla="*/ 4772793 h 6296025"/>
                  <a:gd name="connsiteX57" fmla="*/ 4569696 w 6296025"/>
                  <a:gd name="connsiteY57" fmla="*/ 4468439 h 6296025"/>
                  <a:gd name="connsiteX58" fmla="*/ 4265049 w 6296025"/>
                  <a:gd name="connsiteY58" fmla="*/ 4276004 h 6296025"/>
                  <a:gd name="connsiteX59" fmla="*/ 4265049 w 6296025"/>
                  <a:gd name="connsiteY59" fmla="*/ 4061952 h 6296025"/>
                  <a:gd name="connsiteX60" fmla="*/ 4874342 w 6296025"/>
                  <a:gd name="connsiteY60" fmla="*/ 4061952 h 6296025"/>
                  <a:gd name="connsiteX61" fmla="*/ 4874342 w 6296025"/>
                  <a:gd name="connsiteY61" fmla="*/ 4276004 h 6296025"/>
                  <a:gd name="connsiteX62" fmla="*/ 4569696 w 6296025"/>
                  <a:gd name="connsiteY62" fmla="*/ 4468439 h 6296025"/>
                  <a:gd name="connsiteX63" fmla="*/ 4874342 w 6296025"/>
                  <a:gd name="connsiteY63" fmla="*/ 2030976 h 6296025"/>
                  <a:gd name="connsiteX64" fmla="*/ 4874342 w 6296025"/>
                  <a:gd name="connsiteY64" fmla="*/ 3858854 h 6296025"/>
                  <a:gd name="connsiteX65" fmla="*/ 4671245 w 6296025"/>
                  <a:gd name="connsiteY65" fmla="*/ 3858854 h 6296025"/>
                  <a:gd name="connsiteX66" fmla="*/ 4671245 w 6296025"/>
                  <a:gd name="connsiteY66" fmla="*/ 2030976 h 6296025"/>
                  <a:gd name="connsiteX67" fmla="*/ 4353207 w 6296025"/>
                  <a:gd name="connsiteY67" fmla="*/ 1827878 h 6296025"/>
                  <a:gd name="connsiteX68" fmla="*/ 4569696 w 6296025"/>
                  <a:gd name="connsiteY68" fmla="*/ 1503252 h 6296025"/>
                  <a:gd name="connsiteX69" fmla="*/ 4786185 w 6296025"/>
                  <a:gd name="connsiteY69" fmla="*/ 1827878 h 6296025"/>
                  <a:gd name="connsiteX70" fmla="*/ 4265049 w 6296025"/>
                  <a:gd name="connsiteY70" fmla="*/ 2030976 h 6296025"/>
                  <a:gd name="connsiteX71" fmla="*/ 4468147 w 6296025"/>
                  <a:gd name="connsiteY71" fmla="*/ 2030976 h 6296025"/>
                  <a:gd name="connsiteX72" fmla="*/ 4468147 w 6296025"/>
                  <a:gd name="connsiteY72" fmla="*/ 3858854 h 6296025"/>
                  <a:gd name="connsiteX73" fmla="*/ 4265049 w 6296025"/>
                  <a:gd name="connsiteY73" fmla="*/ 3858854 h 6296025"/>
                  <a:gd name="connsiteX74" fmla="*/ 1118574 w 6296025"/>
                  <a:gd name="connsiteY74" fmla="*/ 5280537 h 6296025"/>
                  <a:gd name="connsiteX75" fmla="*/ 3249561 w 6296025"/>
                  <a:gd name="connsiteY75" fmla="*/ 5280537 h 6296025"/>
                  <a:gd name="connsiteX76" fmla="*/ 3660314 w 6296025"/>
                  <a:gd name="connsiteY76" fmla="*/ 5856509 h 6296025"/>
                  <a:gd name="connsiteX77" fmla="*/ 3721459 w 6296025"/>
                  <a:gd name="connsiteY77" fmla="*/ 6036555 h 6296025"/>
                  <a:gd name="connsiteX78" fmla="*/ 3148013 w 6296025"/>
                  <a:gd name="connsiteY78" fmla="*/ 6092928 h 6296025"/>
                  <a:gd name="connsiteX79" fmla="*/ 1118574 w 6296025"/>
                  <a:gd name="connsiteY79" fmla="*/ 5280537 h 6296025"/>
                  <a:gd name="connsiteX80" fmla="*/ 4163501 w 6296025"/>
                  <a:gd name="connsiteY80" fmla="*/ 6092928 h 6296025"/>
                  <a:gd name="connsiteX81" fmla="*/ 3858854 w 6296025"/>
                  <a:gd name="connsiteY81" fmla="*/ 5793143 h 6296025"/>
                  <a:gd name="connsiteX82" fmla="*/ 3862231 w 6296025"/>
                  <a:gd name="connsiteY82" fmla="*/ 5695466 h 6296025"/>
                  <a:gd name="connsiteX83" fmla="*/ 3778326 w 6296025"/>
                  <a:gd name="connsiteY83" fmla="*/ 5678596 h 6296025"/>
                  <a:gd name="connsiteX84" fmla="*/ 3452659 w 6296025"/>
                  <a:gd name="connsiteY84" fmla="*/ 5280537 h 6296025"/>
                  <a:gd name="connsiteX85" fmla="*/ 3679405 w 6296025"/>
                  <a:gd name="connsiteY85" fmla="*/ 4917678 h 6296025"/>
                  <a:gd name="connsiteX86" fmla="*/ 4163501 w 6296025"/>
                  <a:gd name="connsiteY86" fmla="*/ 5280537 h 6296025"/>
                  <a:gd name="connsiteX87" fmla="*/ 4265049 w 6296025"/>
                  <a:gd name="connsiteY87" fmla="*/ 5280537 h 6296025"/>
                  <a:gd name="connsiteX88" fmla="*/ 4265049 w 6296025"/>
                  <a:gd name="connsiteY88" fmla="*/ 5077440 h 6296025"/>
                  <a:gd name="connsiteX89" fmla="*/ 4163501 w 6296025"/>
                  <a:gd name="connsiteY89" fmla="*/ 5077440 h 6296025"/>
                  <a:gd name="connsiteX90" fmla="*/ 3858854 w 6296025"/>
                  <a:gd name="connsiteY90" fmla="*/ 4772793 h 6296025"/>
                  <a:gd name="connsiteX91" fmla="*/ 4163501 w 6296025"/>
                  <a:gd name="connsiteY91" fmla="*/ 4468147 h 6296025"/>
                  <a:gd name="connsiteX92" fmla="*/ 4468147 w 6296025"/>
                  <a:gd name="connsiteY92" fmla="*/ 4772793 h 6296025"/>
                  <a:gd name="connsiteX93" fmla="*/ 4468147 w 6296025"/>
                  <a:gd name="connsiteY93" fmla="*/ 5788281 h 6296025"/>
                  <a:gd name="connsiteX94" fmla="*/ 4163501 w 6296025"/>
                  <a:gd name="connsiteY94" fmla="*/ 6092928 h 6296025"/>
                  <a:gd name="connsiteX95" fmla="*/ 5360964 w 6296025"/>
                  <a:gd name="connsiteY95" fmla="*/ 5678596 h 6296025"/>
                  <a:gd name="connsiteX96" fmla="*/ 5277072 w 6296025"/>
                  <a:gd name="connsiteY96" fmla="*/ 5695466 h 6296025"/>
                  <a:gd name="connsiteX97" fmla="*/ 5279547 w 6296025"/>
                  <a:gd name="connsiteY97" fmla="*/ 5781097 h 6296025"/>
                  <a:gd name="connsiteX98" fmla="*/ 5280436 w 6296025"/>
                  <a:gd name="connsiteY98" fmla="*/ 5793333 h 6296025"/>
                  <a:gd name="connsiteX99" fmla="*/ 4975891 w 6296025"/>
                  <a:gd name="connsiteY99" fmla="*/ 6092928 h 6296025"/>
                  <a:gd name="connsiteX100" fmla="*/ 4671245 w 6296025"/>
                  <a:gd name="connsiteY100" fmla="*/ 5788281 h 6296025"/>
                  <a:gd name="connsiteX101" fmla="*/ 4671245 w 6296025"/>
                  <a:gd name="connsiteY101" fmla="*/ 4772793 h 6296025"/>
                  <a:gd name="connsiteX102" fmla="*/ 4975891 w 6296025"/>
                  <a:gd name="connsiteY102" fmla="*/ 4468147 h 6296025"/>
                  <a:gd name="connsiteX103" fmla="*/ 5280537 w 6296025"/>
                  <a:gd name="connsiteY103" fmla="*/ 4772793 h 6296025"/>
                  <a:gd name="connsiteX104" fmla="*/ 5052053 w 6296025"/>
                  <a:gd name="connsiteY104" fmla="*/ 5067767 h 6296025"/>
                  <a:gd name="connsiteX105" fmla="*/ 5102725 w 6296025"/>
                  <a:gd name="connsiteY105" fmla="*/ 5264569 h 6296025"/>
                  <a:gd name="connsiteX106" fmla="*/ 5460977 w 6296025"/>
                  <a:gd name="connsiteY106" fmla="*/ 4918325 h 6296025"/>
                  <a:gd name="connsiteX107" fmla="*/ 5686733 w 6296025"/>
                  <a:gd name="connsiteY107" fmla="*/ 5280537 h 6296025"/>
                  <a:gd name="connsiteX108" fmla="*/ 5360964 w 6296025"/>
                  <a:gd name="connsiteY108" fmla="*/ 5678596 h 6296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6296025" h="6296025">
                    <a:moveTo>
                      <a:pt x="6296025" y="3148013"/>
                    </a:moveTo>
                    <a:cubicBezTo>
                      <a:pt x="6296025" y="1412112"/>
                      <a:pt x="4883761" y="0"/>
                      <a:pt x="3148013" y="0"/>
                    </a:cubicBezTo>
                    <a:cubicBezTo>
                      <a:pt x="2527016" y="0"/>
                      <a:pt x="1934682" y="179347"/>
                      <a:pt x="1421683" y="517314"/>
                    </a:cubicBezTo>
                    <a:lnTo>
                      <a:pt x="1421683" y="0"/>
                    </a:lnTo>
                    <a:lnTo>
                      <a:pt x="913939" y="0"/>
                    </a:lnTo>
                    <a:cubicBezTo>
                      <a:pt x="633986" y="0"/>
                      <a:pt x="406195" y="227790"/>
                      <a:pt x="406195" y="507744"/>
                    </a:cubicBezTo>
                    <a:lnTo>
                      <a:pt x="406195" y="1601818"/>
                    </a:lnTo>
                    <a:cubicBezTo>
                      <a:pt x="140870" y="2071583"/>
                      <a:pt x="0" y="2605311"/>
                      <a:pt x="0" y="3148013"/>
                    </a:cubicBezTo>
                    <a:cubicBezTo>
                      <a:pt x="0" y="3690918"/>
                      <a:pt x="141068" y="4223503"/>
                      <a:pt x="406195" y="4693166"/>
                    </a:cubicBezTo>
                    <a:lnTo>
                      <a:pt x="406195" y="4772793"/>
                    </a:lnTo>
                    <a:cubicBezTo>
                      <a:pt x="406195" y="5022197"/>
                      <a:pt x="587376" y="5229065"/>
                      <a:pt x="824688" y="5271512"/>
                    </a:cubicBezTo>
                    <a:cubicBezTo>
                      <a:pt x="1420249" y="5922656"/>
                      <a:pt x="2265655" y="6296025"/>
                      <a:pt x="3148013" y="6296025"/>
                    </a:cubicBezTo>
                    <a:cubicBezTo>
                      <a:pt x="3396185" y="6296025"/>
                      <a:pt x="3642669" y="6265979"/>
                      <a:pt x="3881906" y="6208808"/>
                    </a:cubicBezTo>
                    <a:cubicBezTo>
                      <a:pt x="3962738" y="6263098"/>
                      <a:pt x="4059032" y="6296025"/>
                      <a:pt x="4163501" y="6296025"/>
                    </a:cubicBezTo>
                    <a:cubicBezTo>
                      <a:pt x="4329406" y="6296025"/>
                      <a:pt x="4476969" y="6215992"/>
                      <a:pt x="4569696" y="6092636"/>
                    </a:cubicBezTo>
                    <a:cubicBezTo>
                      <a:pt x="4662422" y="6215992"/>
                      <a:pt x="4809986" y="6296025"/>
                      <a:pt x="4975891" y="6296025"/>
                    </a:cubicBezTo>
                    <a:cubicBezTo>
                      <a:pt x="5232683" y="6296025"/>
                      <a:pt x="5445656" y="6104288"/>
                      <a:pt x="5479078" y="5856509"/>
                    </a:cubicBezTo>
                    <a:cubicBezTo>
                      <a:pt x="5721246" y="5773062"/>
                      <a:pt x="5889830" y="5542343"/>
                      <a:pt x="5889830" y="5280537"/>
                    </a:cubicBezTo>
                    <a:cubicBezTo>
                      <a:pt x="5889830" y="5140210"/>
                      <a:pt x="5840693" y="5009110"/>
                      <a:pt x="5758337" y="4904489"/>
                    </a:cubicBezTo>
                    <a:cubicBezTo>
                      <a:pt x="6109188" y="4384344"/>
                      <a:pt x="6296025" y="3779570"/>
                      <a:pt x="6296025" y="3148013"/>
                    </a:cubicBezTo>
                    <a:close/>
                    <a:moveTo>
                      <a:pt x="5889830" y="4222501"/>
                    </a:moveTo>
                    <a:lnTo>
                      <a:pt x="5889830" y="2075454"/>
                    </a:lnTo>
                    <a:cubicBezTo>
                      <a:pt x="6020435" y="2408115"/>
                      <a:pt x="6092928" y="2769629"/>
                      <a:pt x="6092928" y="3148013"/>
                    </a:cubicBezTo>
                    <a:cubicBezTo>
                      <a:pt x="6092928" y="3520595"/>
                      <a:pt x="6022961" y="3883099"/>
                      <a:pt x="5889830" y="4222501"/>
                    </a:cubicBezTo>
                    <a:close/>
                    <a:moveTo>
                      <a:pt x="3148013" y="203098"/>
                    </a:moveTo>
                    <a:cubicBezTo>
                      <a:pt x="3821268" y="203098"/>
                      <a:pt x="4442163" y="430789"/>
                      <a:pt x="4938699" y="812390"/>
                    </a:cubicBezTo>
                    <a:lnTo>
                      <a:pt x="1421683" y="812390"/>
                    </a:lnTo>
                    <a:lnTo>
                      <a:pt x="1421683" y="763649"/>
                    </a:lnTo>
                    <a:cubicBezTo>
                      <a:pt x="1926152" y="397567"/>
                      <a:pt x="2521660" y="203098"/>
                      <a:pt x="3148013" y="203098"/>
                    </a:cubicBezTo>
                    <a:close/>
                    <a:moveTo>
                      <a:pt x="609293" y="507744"/>
                    </a:moveTo>
                    <a:cubicBezTo>
                      <a:pt x="609293" y="339801"/>
                      <a:pt x="745996" y="203098"/>
                      <a:pt x="913939" y="203098"/>
                    </a:cubicBezTo>
                    <a:lnTo>
                      <a:pt x="1218586" y="203098"/>
                    </a:lnTo>
                    <a:lnTo>
                      <a:pt x="1218586" y="4265049"/>
                    </a:lnTo>
                    <a:lnTo>
                      <a:pt x="913939" y="4265049"/>
                    </a:lnTo>
                    <a:cubicBezTo>
                      <a:pt x="799697" y="4265049"/>
                      <a:pt x="694181" y="4302927"/>
                      <a:pt x="609293" y="4366801"/>
                    </a:cubicBezTo>
                    <a:close/>
                    <a:moveTo>
                      <a:pt x="203098" y="3148013"/>
                    </a:moveTo>
                    <a:cubicBezTo>
                      <a:pt x="203098" y="2779403"/>
                      <a:pt x="273359" y="2415554"/>
                      <a:pt x="406195" y="2075454"/>
                    </a:cubicBezTo>
                    <a:lnTo>
                      <a:pt x="406195" y="4220076"/>
                    </a:lnTo>
                    <a:cubicBezTo>
                      <a:pt x="273458" y="3880281"/>
                      <a:pt x="203098" y="3516724"/>
                      <a:pt x="203098" y="3148013"/>
                    </a:cubicBezTo>
                    <a:close/>
                    <a:moveTo>
                      <a:pt x="609293" y="4772793"/>
                    </a:moveTo>
                    <a:cubicBezTo>
                      <a:pt x="609293" y="4604857"/>
                      <a:pt x="745996" y="4468147"/>
                      <a:pt x="913939" y="4468147"/>
                    </a:cubicBezTo>
                    <a:lnTo>
                      <a:pt x="1421683" y="4468147"/>
                    </a:lnTo>
                    <a:lnTo>
                      <a:pt x="1421683" y="1015488"/>
                    </a:lnTo>
                    <a:lnTo>
                      <a:pt x="5175714" y="1015488"/>
                    </a:lnTo>
                    <a:cubicBezTo>
                      <a:pt x="5374356" y="1204454"/>
                      <a:pt x="5546709" y="1420541"/>
                      <a:pt x="5686733" y="1658203"/>
                    </a:cubicBezTo>
                    <a:lnTo>
                      <a:pt x="5686733" y="4639764"/>
                    </a:lnTo>
                    <a:cubicBezTo>
                      <a:pt x="5661345" y="4682694"/>
                      <a:pt x="5633724" y="4724545"/>
                      <a:pt x="5606103" y="4766497"/>
                    </a:cubicBezTo>
                    <a:cubicBezTo>
                      <a:pt x="5566194" y="4741110"/>
                      <a:pt x="5522604" y="4721130"/>
                      <a:pt x="5476844" y="4705454"/>
                    </a:cubicBezTo>
                    <a:cubicBezTo>
                      <a:pt x="5447979" y="4491110"/>
                      <a:pt x="5287138" y="4318058"/>
                      <a:pt x="5077440" y="4275318"/>
                    </a:cubicBezTo>
                    <a:lnTo>
                      <a:pt x="5077440" y="1898632"/>
                    </a:lnTo>
                    <a:lnTo>
                      <a:pt x="4569696" y="1137019"/>
                    </a:lnTo>
                    <a:lnTo>
                      <a:pt x="4061952" y="1898632"/>
                    </a:lnTo>
                    <a:lnTo>
                      <a:pt x="4061952" y="4275318"/>
                    </a:lnTo>
                    <a:cubicBezTo>
                      <a:pt x="3852254" y="4318058"/>
                      <a:pt x="3691413" y="4491110"/>
                      <a:pt x="3662548" y="4705454"/>
                    </a:cubicBezTo>
                    <a:cubicBezTo>
                      <a:pt x="3485142" y="4766193"/>
                      <a:pt x="3346553" y="4904286"/>
                      <a:pt x="3285015" y="5077440"/>
                    </a:cubicBezTo>
                    <a:lnTo>
                      <a:pt x="913939" y="5077440"/>
                    </a:lnTo>
                    <a:cubicBezTo>
                      <a:pt x="745996" y="5077440"/>
                      <a:pt x="609293" y="4940730"/>
                      <a:pt x="609293" y="4772793"/>
                    </a:cubicBezTo>
                    <a:close/>
                    <a:moveTo>
                      <a:pt x="4569696" y="4468439"/>
                    </a:moveTo>
                    <a:cubicBezTo>
                      <a:pt x="4496454" y="4370965"/>
                      <a:pt x="4388711" y="4301290"/>
                      <a:pt x="4265049" y="4276004"/>
                    </a:cubicBezTo>
                    <a:lnTo>
                      <a:pt x="4265049" y="4061952"/>
                    </a:lnTo>
                    <a:lnTo>
                      <a:pt x="4874342" y="4061952"/>
                    </a:lnTo>
                    <a:lnTo>
                      <a:pt x="4874342" y="4276004"/>
                    </a:lnTo>
                    <a:cubicBezTo>
                      <a:pt x="4750681" y="4301290"/>
                      <a:pt x="4642938" y="4370965"/>
                      <a:pt x="4569696" y="4468439"/>
                    </a:cubicBezTo>
                    <a:close/>
                    <a:moveTo>
                      <a:pt x="4874342" y="2030976"/>
                    </a:moveTo>
                    <a:lnTo>
                      <a:pt x="4874342" y="3858854"/>
                    </a:lnTo>
                    <a:lnTo>
                      <a:pt x="4671245" y="3858854"/>
                    </a:lnTo>
                    <a:lnTo>
                      <a:pt x="4671245" y="2030976"/>
                    </a:lnTo>
                    <a:close/>
                    <a:moveTo>
                      <a:pt x="4353207" y="1827878"/>
                    </a:moveTo>
                    <a:lnTo>
                      <a:pt x="4569696" y="1503252"/>
                    </a:lnTo>
                    <a:lnTo>
                      <a:pt x="4786185" y="1827878"/>
                    </a:lnTo>
                    <a:close/>
                    <a:moveTo>
                      <a:pt x="4265049" y="2030976"/>
                    </a:moveTo>
                    <a:lnTo>
                      <a:pt x="4468147" y="2030976"/>
                    </a:lnTo>
                    <a:lnTo>
                      <a:pt x="4468147" y="3858854"/>
                    </a:lnTo>
                    <a:lnTo>
                      <a:pt x="4265049" y="3858854"/>
                    </a:lnTo>
                    <a:close/>
                    <a:moveTo>
                      <a:pt x="1118574" y="5280537"/>
                    </a:moveTo>
                    <a:lnTo>
                      <a:pt x="3249561" y="5280537"/>
                    </a:lnTo>
                    <a:cubicBezTo>
                      <a:pt x="3249561" y="5542343"/>
                      <a:pt x="3418145" y="5773062"/>
                      <a:pt x="3660314" y="5856509"/>
                    </a:cubicBezTo>
                    <a:cubicBezTo>
                      <a:pt x="3669047" y="5921310"/>
                      <a:pt x="3690562" y="5981808"/>
                      <a:pt x="3721459" y="6036555"/>
                    </a:cubicBezTo>
                    <a:cubicBezTo>
                      <a:pt x="3533378" y="6073634"/>
                      <a:pt x="3341247" y="6092928"/>
                      <a:pt x="3148013" y="6092928"/>
                    </a:cubicBezTo>
                    <a:cubicBezTo>
                      <a:pt x="2391157" y="6092928"/>
                      <a:pt x="1663852" y="5798741"/>
                      <a:pt x="1118574" y="5280537"/>
                    </a:cubicBezTo>
                    <a:close/>
                    <a:moveTo>
                      <a:pt x="4163501" y="6092928"/>
                    </a:moveTo>
                    <a:cubicBezTo>
                      <a:pt x="3997151" y="6092928"/>
                      <a:pt x="3861482" y="5958896"/>
                      <a:pt x="3858854" y="5793143"/>
                    </a:cubicBezTo>
                    <a:lnTo>
                      <a:pt x="3862231" y="5695466"/>
                    </a:lnTo>
                    <a:lnTo>
                      <a:pt x="3778326" y="5678596"/>
                    </a:lnTo>
                    <a:cubicBezTo>
                      <a:pt x="3589661" y="5640617"/>
                      <a:pt x="3452659" y="5473175"/>
                      <a:pt x="3452659" y="5280537"/>
                    </a:cubicBezTo>
                    <a:cubicBezTo>
                      <a:pt x="3452659" y="5123848"/>
                      <a:pt x="3544040" y="4985018"/>
                      <a:pt x="3679405" y="4917678"/>
                    </a:cubicBezTo>
                    <a:cubicBezTo>
                      <a:pt x="3742276" y="5126780"/>
                      <a:pt x="3934229" y="5280537"/>
                      <a:pt x="4163501" y="5280537"/>
                    </a:cubicBezTo>
                    <a:lnTo>
                      <a:pt x="4265049" y="5280537"/>
                    </a:lnTo>
                    <a:lnTo>
                      <a:pt x="4265049" y="5077440"/>
                    </a:lnTo>
                    <a:lnTo>
                      <a:pt x="4163501" y="5077440"/>
                    </a:lnTo>
                    <a:cubicBezTo>
                      <a:pt x="3995564" y="5077440"/>
                      <a:pt x="3858854" y="4940730"/>
                      <a:pt x="3858854" y="4772793"/>
                    </a:cubicBezTo>
                    <a:cubicBezTo>
                      <a:pt x="3858854" y="4604857"/>
                      <a:pt x="3995564" y="4468147"/>
                      <a:pt x="4163501" y="4468147"/>
                    </a:cubicBezTo>
                    <a:cubicBezTo>
                      <a:pt x="4331437" y="4468147"/>
                      <a:pt x="4468147" y="4604857"/>
                      <a:pt x="4468147" y="4772793"/>
                    </a:cubicBezTo>
                    <a:lnTo>
                      <a:pt x="4468147" y="5788281"/>
                    </a:lnTo>
                    <a:cubicBezTo>
                      <a:pt x="4468147" y="5956218"/>
                      <a:pt x="4331437" y="6092928"/>
                      <a:pt x="4163501" y="6092928"/>
                    </a:cubicBezTo>
                    <a:close/>
                    <a:moveTo>
                      <a:pt x="5360964" y="5678596"/>
                    </a:moveTo>
                    <a:lnTo>
                      <a:pt x="5277072" y="5695466"/>
                    </a:lnTo>
                    <a:lnTo>
                      <a:pt x="5279547" y="5781097"/>
                    </a:lnTo>
                    <a:cubicBezTo>
                      <a:pt x="5279649" y="5785260"/>
                      <a:pt x="5279941" y="5789170"/>
                      <a:pt x="5280436" y="5793333"/>
                    </a:cubicBezTo>
                    <a:cubicBezTo>
                      <a:pt x="5277808" y="5958998"/>
                      <a:pt x="5142241" y="6092928"/>
                      <a:pt x="4975891" y="6092928"/>
                    </a:cubicBezTo>
                    <a:cubicBezTo>
                      <a:pt x="4807955" y="6092928"/>
                      <a:pt x="4671245" y="5956218"/>
                      <a:pt x="4671245" y="5788281"/>
                    </a:cubicBezTo>
                    <a:lnTo>
                      <a:pt x="4671245" y="4772793"/>
                    </a:lnTo>
                    <a:cubicBezTo>
                      <a:pt x="4671245" y="4604857"/>
                      <a:pt x="4807955" y="4468147"/>
                      <a:pt x="4975891" y="4468147"/>
                    </a:cubicBezTo>
                    <a:cubicBezTo>
                      <a:pt x="5143827" y="4468147"/>
                      <a:pt x="5280537" y="4604857"/>
                      <a:pt x="5280537" y="4772793"/>
                    </a:cubicBezTo>
                    <a:cubicBezTo>
                      <a:pt x="5280537" y="4911928"/>
                      <a:pt x="5186630" y="5033164"/>
                      <a:pt x="5052053" y="5067767"/>
                    </a:cubicBezTo>
                    <a:lnTo>
                      <a:pt x="5102725" y="5264569"/>
                    </a:lnTo>
                    <a:cubicBezTo>
                      <a:pt x="5278113" y="5219405"/>
                      <a:pt x="5410939" y="5085272"/>
                      <a:pt x="5460977" y="4918325"/>
                    </a:cubicBezTo>
                    <a:cubicBezTo>
                      <a:pt x="5595745" y="4985754"/>
                      <a:pt x="5686733" y="5124254"/>
                      <a:pt x="5686733" y="5280537"/>
                    </a:cubicBezTo>
                    <a:cubicBezTo>
                      <a:pt x="5686733" y="5473175"/>
                      <a:pt x="5549731" y="5640617"/>
                      <a:pt x="5360964" y="5678596"/>
                    </a:cubicBez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89" name="Freeform: Shape 8">
                <a:extLst>
                  <a:ext uri="{FF2B5EF4-FFF2-40B4-BE49-F238E27FC236}">
                    <a16:creationId xmlns:a16="http://schemas.microsoft.com/office/drawing/2014/main" id="{D847A65C-0CBB-CB46-8997-DCA51C124538}"/>
                  </a:ext>
                </a:extLst>
              </p:cNvPr>
              <p:cNvSpPr/>
              <p:nvPr/>
            </p:nvSpPr>
            <p:spPr>
              <a:xfrm>
                <a:off x="3048768" y="1499572"/>
                <a:ext cx="2234073" cy="1218585"/>
              </a:xfrm>
              <a:custGeom>
                <a:avLst/>
                <a:gdLst>
                  <a:gd name="connsiteX0" fmla="*/ 2234074 w 2234073"/>
                  <a:gd name="connsiteY0" fmla="*/ 0 h 1218585"/>
                  <a:gd name="connsiteX1" fmla="*/ 0 w 2234073"/>
                  <a:gd name="connsiteY1" fmla="*/ 0 h 1218585"/>
                  <a:gd name="connsiteX2" fmla="*/ 0 w 2234073"/>
                  <a:gd name="connsiteY2" fmla="*/ 1218586 h 1218585"/>
                  <a:gd name="connsiteX3" fmla="*/ 2234074 w 2234073"/>
                  <a:gd name="connsiteY3" fmla="*/ 1218586 h 1218585"/>
                  <a:gd name="connsiteX4" fmla="*/ 2030976 w 2234073"/>
                  <a:gd name="connsiteY4" fmla="*/ 1015488 h 1218585"/>
                  <a:gd name="connsiteX5" fmla="*/ 203098 w 2234073"/>
                  <a:gd name="connsiteY5" fmla="*/ 1015488 h 1218585"/>
                  <a:gd name="connsiteX6" fmla="*/ 203098 w 2234073"/>
                  <a:gd name="connsiteY6" fmla="*/ 203098 h 1218585"/>
                  <a:gd name="connsiteX7" fmla="*/ 2030976 w 2234073"/>
                  <a:gd name="connsiteY7" fmla="*/ 203098 h 121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34073" h="1218585">
                    <a:moveTo>
                      <a:pt x="2234074" y="0"/>
                    </a:moveTo>
                    <a:lnTo>
                      <a:pt x="0" y="0"/>
                    </a:lnTo>
                    <a:lnTo>
                      <a:pt x="0" y="1218586"/>
                    </a:lnTo>
                    <a:lnTo>
                      <a:pt x="2234074" y="1218586"/>
                    </a:lnTo>
                    <a:close/>
                    <a:moveTo>
                      <a:pt x="2030976" y="1015488"/>
                    </a:moveTo>
                    <a:lnTo>
                      <a:pt x="203098" y="1015488"/>
                    </a:lnTo>
                    <a:lnTo>
                      <a:pt x="203098" y="203098"/>
                    </a:lnTo>
                    <a:lnTo>
                      <a:pt x="2030976" y="20309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90" name="Freeform: Shape 11">
                <a:extLst>
                  <a:ext uri="{FF2B5EF4-FFF2-40B4-BE49-F238E27FC236}">
                    <a16:creationId xmlns:a16="http://schemas.microsoft.com/office/drawing/2014/main" id="{B0424EEC-E1D4-BE46-9058-22F19666C8B3}"/>
                  </a:ext>
                </a:extLst>
              </p:cNvPr>
              <p:cNvSpPr/>
              <p:nvPr/>
            </p:nvSpPr>
            <p:spPr>
              <a:xfrm>
                <a:off x="3048768" y="2921256"/>
                <a:ext cx="2234073" cy="203098"/>
              </a:xfrm>
              <a:custGeom>
                <a:avLst/>
                <a:gdLst>
                  <a:gd name="connsiteX0" fmla="*/ 0 w 2234073"/>
                  <a:gd name="connsiteY0" fmla="*/ 0 h 203097"/>
                  <a:gd name="connsiteX1" fmla="*/ 2234074 w 2234073"/>
                  <a:gd name="connsiteY1" fmla="*/ 0 h 203097"/>
                  <a:gd name="connsiteX2" fmla="*/ 2234074 w 2234073"/>
                  <a:gd name="connsiteY2" fmla="*/ 203098 h 203097"/>
                  <a:gd name="connsiteX3" fmla="*/ 0 w 2234073"/>
                  <a:gd name="connsiteY3" fmla="*/ 203098 h 20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34073" h="203097">
                    <a:moveTo>
                      <a:pt x="0" y="0"/>
                    </a:moveTo>
                    <a:lnTo>
                      <a:pt x="2234074" y="0"/>
                    </a:lnTo>
                    <a:lnTo>
                      <a:pt x="2234074" y="203098"/>
                    </a:lnTo>
                    <a:lnTo>
                      <a:pt x="0" y="20309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91" name="Freeform: Shape 12">
                <a:extLst>
                  <a:ext uri="{FF2B5EF4-FFF2-40B4-BE49-F238E27FC236}">
                    <a16:creationId xmlns:a16="http://schemas.microsoft.com/office/drawing/2014/main" id="{770350AA-4D1A-A144-A05B-64C78E00522E}"/>
                  </a:ext>
                </a:extLst>
              </p:cNvPr>
              <p:cNvSpPr/>
              <p:nvPr/>
            </p:nvSpPr>
            <p:spPr>
              <a:xfrm>
                <a:off x="3048768" y="3327451"/>
                <a:ext cx="2234073" cy="203098"/>
              </a:xfrm>
              <a:custGeom>
                <a:avLst/>
                <a:gdLst>
                  <a:gd name="connsiteX0" fmla="*/ 0 w 2234073"/>
                  <a:gd name="connsiteY0" fmla="*/ 0 h 203097"/>
                  <a:gd name="connsiteX1" fmla="*/ 2234074 w 2234073"/>
                  <a:gd name="connsiteY1" fmla="*/ 0 h 203097"/>
                  <a:gd name="connsiteX2" fmla="*/ 2234074 w 2234073"/>
                  <a:gd name="connsiteY2" fmla="*/ 203098 h 203097"/>
                  <a:gd name="connsiteX3" fmla="*/ 0 w 2234073"/>
                  <a:gd name="connsiteY3" fmla="*/ 203098 h 20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34073" h="203097">
                    <a:moveTo>
                      <a:pt x="0" y="0"/>
                    </a:moveTo>
                    <a:lnTo>
                      <a:pt x="2234074" y="0"/>
                    </a:lnTo>
                    <a:lnTo>
                      <a:pt x="2234074" y="203098"/>
                    </a:lnTo>
                    <a:lnTo>
                      <a:pt x="0" y="20309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92" name="Freeform: Shape 13">
                <a:extLst>
                  <a:ext uri="{FF2B5EF4-FFF2-40B4-BE49-F238E27FC236}">
                    <a16:creationId xmlns:a16="http://schemas.microsoft.com/office/drawing/2014/main" id="{BFAADAA5-D278-3E49-88DE-84C8E150737C}"/>
                  </a:ext>
                </a:extLst>
              </p:cNvPr>
              <p:cNvSpPr/>
              <p:nvPr/>
            </p:nvSpPr>
            <p:spPr>
              <a:xfrm>
                <a:off x="3048768" y="3733646"/>
                <a:ext cx="2234073" cy="203098"/>
              </a:xfrm>
              <a:custGeom>
                <a:avLst/>
                <a:gdLst>
                  <a:gd name="connsiteX0" fmla="*/ 0 w 2234073"/>
                  <a:gd name="connsiteY0" fmla="*/ 0 h 203097"/>
                  <a:gd name="connsiteX1" fmla="*/ 2234074 w 2234073"/>
                  <a:gd name="connsiteY1" fmla="*/ 0 h 203097"/>
                  <a:gd name="connsiteX2" fmla="*/ 2234074 w 2234073"/>
                  <a:gd name="connsiteY2" fmla="*/ 203098 h 203097"/>
                  <a:gd name="connsiteX3" fmla="*/ 0 w 2234073"/>
                  <a:gd name="connsiteY3" fmla="*/ 203098 h 20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34073" h="203097">
                    <a:moveTo>
                      <a:pt x="0" y="0"/>
                    </a:moveTo>
                    <a:lnTo>
                      <a:pt x="2234074" y="0"/>
                    </a:lnTo>
                    <a:lnTo>
                      <a:pt x="2234074" y="203098"/>
                    </a:lnTo>
                    <a:lnTo>
                      <a:pt x="0" y="20309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93" name="Freeform: Shape 17">
                <a:extLst>
                  <a:ext uri="{FF2B5EF4-FFF2-40B4-BE49-F238E27FC236}">
                    <a16:creationId xmlns:a16="http://schemas.microsoft.com/office/drawing/2014/main" id="{38BDD5F9-8651-8B45-AC02-37E694DA50C2}"/>
                  </a:ext>
                </a:extLst>
              </p:cNvPr>
              <p:cNvSpPr/>
              <p:nvPr/>
            </p:nvSpPr>
            <p:spPr>
              <a:xfrm>
                <a:off x="3048768" y="4139841"/>
                <a:ext cx="1827878" cy="203098"/>
              </a:xfrm>
              <a:custGeom>
                <a:avLst/>
                <a:gdLst>
                  <a:gd name="connsiteX0" fmla="*/ 0 w 1827878"/>
                  <a:gd name="connsiteY0" fmla="*/ 0 h 203097"/>
                  <a:gd name="connsiteX1" fmla="*/ 1837551 w 1827878"/>
                  <a:gd name="connsiteY1" fmla="*/ 0 h 203097"/>
                  <a:gd name="connsiteX2" fmla="*/ 1837551 w 1827878"/>
                  <a:gd name="connsiteY2" fmla="*/ 203098 h 203097"/>
                  <a:gd name="connsiteX3" fmla="*/ 0 w 1827878"/>
                  <a:gd name="connsiteY3" fmla="*/ 203098 h 20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7878" h="203097">
                    <a:moveTo>
                      <a:pt x="0" y="0"/>
                    </a:moveTo>
                    <a:lnTo>
                      <a:pt x="1837551" y="0"/>
                    </a:lnTo>
                    <a:lnTo>
                      <a:pt x="1837551" y="203098"/>
                    </a:lnTo>
                    <a:lnTo>
                      <a:pt x="0" y="20309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94" name="Freeform: Shape 20">
                <a:extLst>
                  <a:ext uri="{FF2B5EF4-FFF2-40B4-BE49-F238E27FC236}">
                    <a16:creationId xmlns:a16="http://schemas.microsoft.com/office/drawing/2014/main" id="{37D5FC95-1A84-5449-920E-7DEDF16FB52F}"/>
                  </a:ext>
                </a:extLst>
              </p:cNvPr>
              <p:cNvSpPr/>
              <p:nvPr/>
            </p:nvSpPr>
            <p:spPr>
              <a:xfrm>
                <a:off x="5089416" y="4139841"/>
                <a:ext cx="190404" cy="203098"/>
              </a:xfrm>
              <a:custGeom>
                <a:avLst/>
                <a:gdLst>
                  <a:gd name="connsiteX0" fmla="*/ 0 w 190403"/>
                  <a:gd name="connsiteY0" fmla="*/ 0 h 203097"/>
                  <a:gd name="connsiteX1" fmla="*/ 193425 w 190403"/>
                  <a:gd name="connsiteY1" fmla="*/ 0 h 203097"/>
                  <a:gd name="connsiteX2" fmla="*/ 193425 w 190403"/>
                  <a:gd name="connsiteY2" fmla="*/ 203098 h 203097"/>
                  <a:gd name="connsiteX3" fmla="*/ 0 w 190403"/>
                  <a:gd name="connsiteY3" fmla="*/ 203098 h 20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403" h="203097">
                    <a:moveTo>
                      <a:pt x="0" y="0"/>
                    </a:moveTo>
                    <a:lnTo>
                      <a:pt x="193425" y="0"/>
                    </a:lnTo>
                    <a:lnTo>
                      <a:pt x="193425" y="203098"/>
                    </a:lnTo>
                    <a:lnTo>
                      <a:pt x="0" y="20309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  <p:grpSp>
          <p:nvGrpSpPr>
            <p:cNvPr id="199" name="Graphic 83">
              <a:extLst>
                <a:ext uri="{FF2B5EF4-FFF2-40B4-BE49-F238E27FC236}">
                  <a16:creationId xmlns:a16="http://schemas.microsoft.com/office/drawing/2014/main" id="{7B31BC4B-0DD3-164A-A899-8E5F501436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75872" y="4589336"/>
              <a:ext cx="532503" cy="532503"/>
              <a:chOff x="1423987" y="280987"/>
              <a:chExt cx="6296025" cy="6296025"/>
            </a:xfrm>
            <a:solidFill>
              <a:schemeClr val="bg1"/>
            </a:solidFill>
          </p:grpSpPr>
          <p:sp>
            <p:nvSpPr>
              <p:cNvPr id="200" name="Freeform: Shape 276">
                <a:extLst>
                  <a:ext uri="{FF2B5EF4-FFF2-40B4-BE49-F238E27FC236}">
                    <a16:creationId xmlns:a16="http://schemas.microsoft.com/office/drawing/2014/main" id="{13B87E3C-CCF7-D043-964B-1C3F8AF2B00D}"/>
                  </a:ext>
                </a:extLst>
              </p:cNvPr>
              <p:cNvSpPr/>
              <p:nvPr/>
            </p:nvSpPr>
            <p:spPr>
              <a:xfrm>
                <a:off x="5079743" y="3936743"/>
                <a:ext cx="2640269" cy="2640269"/>
              </a:xfrm>
              <a:custGeom>
                <a:avLst/>
                <a:gdLst>
                  <a:gd name="connsiteX0" fmla="*/ 1320134 w 2640268"/>
                  <a:gd name="connsiteY0" fmla="*/ 0 h 2640268"/>
                  <a:gd name="connsiteX1" fmla="*/ 0 w 2640268"/>
                  <a:gd name="connsiteY1" fmla="*/ 1320134 h 2640268"/>
                  <a:gd name="connsiteX2" fmla="*/ 1320134 w 2640268"/>
                  <a:gd name="connsiteY2" fmla="*/ 2640269 h 2640268"/>
                  <a:gd name="connsiteX3" fmla="*/ 2640269 w 2640268"/>
                  <a:gd name="connsiteY3" fmla="*/ 1320134 h 2640268"/>
                  <a:gd name="connsiteX4" fmla="*/ 1320134 w 2640268"/>
                  <a:gd name="connsiteY4" fmla="*/ 0 h 2640268"/>
                  <a:gd name="connsiteX5" fmla="*/ 1320134 w 2640268"/>
                  <a:gd name="connsiteY5" fmla="*/ 2437171 h 2640268"/>
                  <a:gd name="connsiteX6" fmla="*/ 203098 w 2640268"/>
                  <a:gd name="connsiteY6" fmla="*/ 1320134 h 2640268"/>
                  <a:gd name="connsiteX7" fmla="*/ 1320134 w 2640268"/>
                  <a:gd name="connsiteY7" fmla="*/ 203098 h 2640268"/>
                  <a:gd name="connsiteX8" fmla="*/ 2437171 w 2640268"/>
                  <a:gd name="connsiteY8" fmla="*/ 1320134 h 2640268"/>
                  <a:gd name="connsiteX9" fmla="*/ 1320134 w 2640268"/>
                  <a:gd name="connsiteY9" fmla="*/ 2437171 h 2640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40268" h="2640268">
                    <a:moveTo>
                      <a:pt x="1320134" y="0"/>
                    </a:moveTo>
                    <a:cubicBezTo>
                      <a:pt x="592233" y="0"/>
                      <a:pt x="0" y="592233"/>
                      <a:pt x="0" y="1320134"/>
                    </a:cubicBezTo>
                    <a:cubicBezTo>
                      <a:pt x="0" y="2048036"/>
                      <a:pt x="592233" y="2640269"/>
                      <a:pt x="1320134" y="2640269"/>
                    </a:cubicBezTo>
                    <a:cubicBezTo>
                      <a:pt x="2048036" y="2640269"/>
                      <a:pt x="2640269" y="2048036"/>
                      <a:pt x="2640269" y="1320134"/>
                    </a:cubicBezTo>
                    <a:cubicBezTo>
                      <a:pt x="2640269" y="592233"/>
                      <a:pt x="2048036" y="0"/>
                      <a:pt x="1320134" y="0"/>
                    </a:cubicBezTo>
                    <a:close/>
                    <a:moveTo>
                      <a:pt x="1320134" y="2437171"/>
                    </a:moveTo>
                    <a:cubicBezTo>
                      <a:pt x="704241" y="2437171"/>
                      <a:pt x="203098" y="1936028"/>
                      <a:pt x="203098" y="1320134"/>
                    </a:cubicBezTo>
                    <a:cubicBezTo>
                      <a:pt x="203098" y="704241"/>
                      <a:pt x="704241" y="203098"/>
                      <a:pt x="1320134" y="203098"/>
                    </a:cubicBezTo>
                    <a:cubicBezTo>
                      <a:pt x="1936028" y="203098"/>
                      <a:pt x="2437171" y="704241"/>
                      <a:pt x="2437171" y="1320134"/>
                    </a:cubicBezTo>
                    <a:cubicBezTo>
                      <a:pt x="2437171" y="1936028"/>
                      <a:pt x="1936028" y="2437171"/>
                      <a:pt x="1320134" y="2437171"/>
                    </a:cubicBez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1" name="Freeform: Shape 277">
                <a:extLst>
                  <a:ext uri="{FF2B5EF4-FFF2-40B4-BE49-F238E27FC236}">
                    <a16:creationId xmlns:a16="http://schemas.microsoft.com/office/drawing/2014/main" id="{790D197D-A05F-DC4F-8202-AED1EB5DF76F}"/>
                  </a:ext>
                </a:extLst>
              </p:cNvPr>
              <p:cNvSpPr/>
              <p:nvPr/>
            </p:nvSpPr>
            <p:spPr>
              <a:xfrm>
                <a:off x="6095231" y="4647585"/>
                <a:ext cx="609293" cy="1218585"/>
              </a:xfrm>
              <a:custGeom>
                <a:avLst/>
                <a:gdLst>
                  <a:gd name="connsiteX0" fmla="*/ 304646 w 609292"/>
                  <a:gd name="connsiteY0" fmla="*/ 913939 h 1218585"/>
                  <a:gd name="connsiteX1" fmla="*/ 203098 w 609292"/>
                  <a:gd name="connsiteY1" fmla="*/ 812390 h 1218585"/>
                  <a:gd name="connsiteX2" fmla="*/ 0 w 609292"/>
                  <a:gd name="connsiteY2" fmla="*/ 812390 h 1218585"/>
                  <a:gd name="connsiteX3" fmla="*/ 203098 w 609292"/>
                  <a:gd name="connsiteY3" fmla="*/ 1098339 h 1218585"/>
                  <a:gd name="connsiteX4" fmla="*/ 203098 w 609292"/>
                  <a:gd name="connsiteY4" fmla="*/ 1218586 h 1218585"/>
                  <a:gd name="connsiteX5" fmla="*/ 406195 w 609292"/>
                  <a:gd name="connsiteY5" fmla="*/ 1218586 h 1218585"/>
                  <a:gd name="connsiteX6" fmla="*/ 406195 w 609292"/>
                  <a:gd name="connsiteY6" fmla="*/ 1098339 h 1218585"/>
                  <a:gd name="connsiteX7" fmla="*/ 609293 w 609292"/>
                  <a:gd name="connsiteY7" fmla="*/ 812390 h 1218585"/>
                  <a:gd name="connsiteX8" fmla="*/ 304646 w 609292"/>
                  <a:gd name="connsiteY8" fmla="*/ 507744 h 1218585"/>
                  <a:gd name="connsiteX9" fmla="*/ 203098 w 609292"/>
                  <a:gd name="connsiteY9" fmla="*/ 406195 h 1218585"/>
                  <a:gd name="connsiteX10" fmla="*/ 304646 w 609292"/>
                  <a:gd name="connsiteY10" fmla="*/ 304646 h 1218585"/>
                  <a:gd name="connsiteX11" fmla="*/ 406195 w 609292"/>
                  <a:gd name="connsiteY11" fmla="*/ 406195 h 1218585"/>
                  <a:gd name="connsiteX12" fmla="*/ 609293 w 609292"/>
                  <a:gd name="connsiteY12" fmla="*/ 406195 h 1218585"/>
                  <a:gd name="connsiteX13" fmla="*/ 406195 w 609292"/>
                  <a:gd name="connsiteY13" fmla="*/ 120246 h 1218585"/>
                  <a:gd name="connsiteX14" fmla="*/ 406195 w 609292"/>
                  <a:gd name="connsiteY14" fmla="*/ 0 h 1218585"/>
                  <a:gd name="connsiteX15" fmla="*/ 203098 w 609292"/>
                  <a:gd name="connsiteY15" fmla="*/ 0 h 1218585"/>
                  <a:gd name="connsiteX16" fmla="*/ 203098 w 609292"/>
                  <a:gd name="connsiteY16" fmla="*/ 120246 h 1218585"/>
                  <a:gd name="connsiteX17" fmla="*/ 0 w 609292"/>
                  <a:gd name="connsiteY17" fmla="*/ 406195 h 1218585"/>
                  <a:gd name="connsiteX18" fmla="*/ 304646 w 609292"/>
                  <a:gd name="connsiteY18" fmla="*/ 710842 h 1218585"/>
                  <a:gd name="connsiteX19" fmla="*/ 406195 w 609292"/>
                  <a:gd name="connsiteY19" fmla="*/ 812390 h 1218585"/>
                  <a:gd name="connsiteX20" fmla="*/ 304646 w 609292"/>
                  <a:gd name="connsiteY20" fmla="*/ 913939 h 121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09292" h="1218585">
                    <a:moveTo>
                      <a:pt x="304646" y="913939"/>
                    </a:moveTo>
                    <a:cubicBezTo>
                      <a:pt x="248617" y="913939"/>
                      <a:pt x="203098" y="868318"/>
                      <a:pt x="203098" y="812390"/>
                    </a:cubicBezTo>
                    <a:lnTo>
                      <a:pt x="0" y="812390"/>
                    </a:lnTo>
                    <a:cubicBezTo>
                      <a:pt x="0" y="944582"/>
                      <a:pt x="85187" y="1056298"/>
                      <a:pt x="203098" y="1098339"/>
                    </a:cubicBezTo>
                    <a:lnTo>
                      <a:pt x="203098" y="1218586"/>
                    </a:lnTo>
                    <a:lnTo>
                      <a:pt x="406195" y="1218586"/>
                    </a:lnTo>
                    <a:lnTo>
                      <a:pt x="406195" y="1098339"/>
                    </a:lnTo>
                    <a:cubicBezTo>
                      <a:pt x="524106" y="1056298"/>
                      <a:pt x="609293" y="944582"/>
                      <a:pt x="609293" y="812390"/>
                    </a:cubicBezTo>
                    <a:cubicBezTo>
                      <a:pt x="609293" y="644454"/>
                      <a:pt x="472583" y="507744"/>
                      <a:pt x="304646" y="507744"/>
                    </a:cubicBezTo>
                    <a:cubicBezTo>
                      <a:pt x="248617" y="507744"/>
                      <a:pt x="203098" y="462123"/>
                      <a:pt x="203098" y="406195"/>
                    </a:cubicBezTo>
                    <a:cubicBezTo>
                      <a:pt x="203098" y="350267"/>
                      <a:pt x="248617" y="304646"/>
                      <a:pt x="304646" y="304646"/>
                    </a:cubicBezTo>
                    <a:cubicBezTo>
                      <a:pt x="360676" y="304646"/>
                      <a:pt x="406195" y="350267"/>
                      <a:pt x="406195" y="406195"/>
                    </a:cubicBezTo>
                    <a:lnTo>
                      <a:pt x="609293" y="406195"/>
                    </a:lnTo>
                    <a:cubicBezTo>
                      <a:pt x="609293" y="274004"/>
                      <a:pt x="524106" y="162288"/>
                      <a:pt x="406195" y="120246"/>
                    </a:cubicBezTo>
                    <a:lnTo>
                      <a:pt x="406195" y="0"/>
                    </a:lnTo>
                    <a:lnTo>
                      <a:pt x="203098" y="0"/>
                    </a:lnTo>
                    <a:lnTo>
                      <a:pt x="203098" y="120246"/>
                    </a:lnTo>
                    <a:cubicBezTo>
                      <a:pt x="85187" y="162288"/>
                      <a:pt x="0" y="274004"/>
                      <a:pt x="0" y="406195"/>
                    </a:cubicBezTo>
                    <a:cubicBezTo>
                      <a:pt x="0" y="574132"/>
                      <a:pt x="136710" y="710842"/>
                      <a:pt x="304646" y="710842"/>
                    </a:cubicBezTo>
                    <a:cubicBezTo>
                      <a:pt x="360676" y="710842"/>
                      <a:pt x="406195" y="756462"/>
                      <a:pt x="406195" y="812390"/>
                    </a:cubicBezTo>
                    <a:cubicBezTo>
                      <a:pt x="406195" y="868318"/>
                      <a:pt x="360676" y="913939"/>
                      <a:pt x="304646" y="913939"/>
                    </a:cubicBez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2" name="Freeform: Shape 278">
                <a:extLst>
                  <a:ext uri="{FF2B5EF4-FFF2-40B4-BE49-F238E27FC236}">
                    <a16:creationId xmlns:a16="http://schemas.microsoft.com/office/drawing/2014/main" id="{06F23205-43C6-A74B-A3A1-58AC1369F0F7}"/>
                  </a:ext>
                </a:extLst>
              </p:cNvPr>
              <p:cNvSpPr/>
              <p:nvPr/>
            </p:nvSpPr>
            <p:spPr>
              <a:xfrm>
                <a:off x="5839925" y="4342939"/>
                <a:ext cx="1472457" cy="1472457"/>
              </a:xfrm>
              <a:custGeom>
                <a:avLst/>
                <a:gdLst>
                  <a:gd name="connsiteX0" fmla="*/ 559953 w 1472457"/>
                  <a:gd name="connsiteY0" fmla="*/ 0 h 1472457"/>
                  <a:gd name="connsiteX1" fmla="*/ 0 w 1472457"/>
                  <a:gd name="connsiteY1" fmla="*/ 192537 h 1472457"/>
                  <a:gd name="connsiteX2" fmla="*/ 124600 w 1472457"/>
                  <a:gd name="connsiteY2" fmla="*/ 352895 h 1472457"/>
                  <a:gd name="connsiteX3" fmla="*/ 559953 w 1472457"/>
                  <a:gd name="connsiteY3" fmla="*/ 203098 h 1472457"/>
                  <a:gd name="connsiteX4" fmla="*/ 1270794 w 1472457"/>
                  <a:gd name="connsiteY4" fmla="*/ 913939 h 1472457"/>
                  <a:gd name="connsiteX5" fmla="*/ 1120896 w 1472457"/>
                  <a:gd name="connsiteY5" fmla="*/ 1349291 h 1472457"/>
                  <a:gd name="connsiteX6" fmla="*/ 1281355 w 1472457"/>
                  <a:gd name="connsiteY6" fmla="*/ 1473892 h 1472457"/>
                  <a:gd name="connsiteX7" fmla="*/ 1473892 w 1472457"/>
                  <a:gd name="connsiteY7" fmla="*/ 913939 h 1472457"/>
                  <a:gd name="connsiteX8" fmla="*/ 559953 w 1472457"/>
                  <a:gd name="connsiteY8" fmla="*/ 0 h 147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2457" h="1472457">
                    <a:moveTo>
                      <a:pt x="559953" y="0"/>
                    </a:moveTo>
                    <a:cubicBezTo>
                      <a:pt x="355611" y="0"/>
                      <a:pt x="162085" y="66591"/>
                      <a:pt x="0" y="192537"/>
                    </a:cubicBezTo>
                    <a:lnTo>
                      <a:pt x="124600" y="352895"/>
                    </a:lnTo>
                    <a:cubicBezTo>
                      <a:pt x="250749" y="254862"/>
                      <a:pt x="401334" y="203098"/>
                      <a:pt x="559953" y="203098"/>
                    </a:cubicBezTo>
                    <a:cubicBezTo>
                      <a:pt x="951817" y="203098"/>
                      <a:pt x="1270794" y="521974"/>
                      <a:pt x="1270794" y="913939"/>
                    </a:cubicBezTo>
                    <a:cubicBezTo>
                      <a:pt x="1270794" y="1072558"/>
                      <a:pt x="1219030" y="1223143"/>
                      <a:pt x="1120896" y="1349291"/>
                    </a:cubicBezTo>
                    <a:lnTo>
                      <a:pt x="1281355" y="1473892"/>
                    </a:lnTo>
                    <a:cubicBezTo>
                      <a:pt x="1407403" y="1311706"/>
                      <a:pt x="1473892" y="1118179"/>
                      <a:pt x="1473892" y="913939"/>
                    </a:cubicBezTo>
                    <a:cubicBezTo>
                      <a:pt x="1473892" y="410067"/>
                      <a:pt x="1063927" y="0"/>
                      <a:pt x="559953" y="0"/>
                    </a:cubicBez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3" name="Freeform: Shape 279">
                <a:extLst>
                  <a:ext uri="{FF2B5EF4-FFF2-40B4-BE49-F238E27FC236}">
                    <a16:creationId xmlns:a16="http://schemas.microsoft.com/office/drawing/2014/main" id="{4739DB6D-7476-0B45-8E9F-FACDC1624388}"/>
                  </a:ext>
                </a:extLst>
              </p:cNvPr>
              <p:cNvSpPr/>
              <p:nvPr/>
            </p:nvSpPr>
            <p:spPr>
              <a:xfrm>
                <a:off x="5485939" y="4696925"/>
                <a:ext cx="1472457" cy="1472457"/>
              </a:xfrm>
              <a:custGeom>
                <a:avLst/>
                <a:gdLst>
                  <a:gd name="connsiteX0" fmla="*/ 913939 w 1472457"/>
                  <a:gd name="connsiteY0" fmla="*/ 1270794 h 1472457"/>
                  <a:gd name="connsiteX1" fmla="*/ 203098 w 1472457"/>
                  <a:gd name="connsiteY1" fmla="*/ 559953 h 1472457"/>
                  <a:gd name="connsiteX2" fmla="*/ 352996 w 1472457"/>
                  <a:gd name="connsiteY2" fmla="*/ 124600 h 1472457"/>
                  <a:gd name="connsiteX3" fmla="*/ 192537 w 1472457"/>
                  <a:gd name="connsiteY3" fmla="*/ 0 h 1472457"/>
                  <a:gd name="connsiteX4" fmla="*/ 0 w 1472457"/>
                  <a:gd name="connsiteY4" fmla="*/ 559953 h 1472457"/>
                  <a:gd name="connsiteX5" fmla="*/ 913939 w 1472457"/>
                  <a:gd name="connsiteY5" fmla="*/ 1473892 h 1472457"/>
                  <a:gd name="connsiteX6" fmla="*/ 1473892 w 1472457"/>
                  <a:gd name="connsiteY6" fmla="*/ 1281355 h 1472457"/>
                  <a:gd name="connsiteX7" fmla="*/ 1349291 w 1472457"/>
                  <a:gd name="connsiteY7" fmla="*/ 1120997 h 1472457"/>
                  <a:gd name="connsiteX8" fmla="*/ 913939 w 1472457"/>
                  <a:gd name="connsiteY8" fmla="*/ 1270794 h 147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2457" h="1472457">
                    <a:moveTo>
                      <a:pt x="913939" y="1270794"/>
                    </a:moveTo>
                    <a:cubicBezTo>
                      <a:pt x="522075" y="1270794"/>
                      <a:pt x="203098" y="951918"/>
                      <a:pt x="203098" y="559953"/>
                    </a:cubicBezTo>
                    <a:cubicBezTo>
                      <a:pt x="203098" y="401334"/>
                      <a:pt x="254862" y="250749"/>
                      <a:pt x="352996" y="124600"/>
                    </a:cubicBezTo>
                    <a:lnTo>
                      <a:pt x="192537" y="0"/>
                    </a:lnTo>
                    <a:cubicBezTo>
                      <a:pt x="66489" y="162186"/>
                      <a:pt x="0" y="355713"/>
                      <a:pt x="0" y="559953"/>
                    </a:cubicBezTo>
                    <a:cubicBezTo>
                      <a:pt x="0" y="1063825"/>
                      <a:pt x="409965" y="1473892"/>
                      <a:pt x="913939" y="1473892"/>
                    </a:cubicBezTo>
                    <a:cubicBezTo>
                      <a:pt x="1118281" y="1473892"/>
                      <a:pt x="1311807" y="1407301"/>
                      <a:pt x="1473892" y="1281355"/>
                    </a:cubicBezTo>
                    <a:lnTo>
                      <a:pt x="1349291" y="1120997"/>
                    </a:lnTo>
                    <a:cubicBezTo>
                      <a:pt x="1223143" y="1219030"/>
                      <a:pt x="1072558" y="1270794"/>
                      <a:pt x="913939" y="1270794"/>
                    </a:cubicBez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4" name="Freeform: Shape 280">
                <a:extLst>
                  <a:ext uri="{FF2B5EF4-FFF2-40B4-BE49-F238E27FC236}">
                    <a16:creationId xmlns:a16="http://schemas.microsoft.com/office/drawing/2014/main" id="{DA55171E-66BB-E54F-9603-C914C66523DA}"/>
                  </a:ext>
                </a:extLst>
              </p:cNvPr>
              <p:cNvSpPr/>
              <p:nvPr/>
            </p:nvSpPr>
            <p:spPr>
              <a:xfrm>
                <a:off x="1423987" y="4546036"/>
                <a:ext cx="609293" cy="2030976"/>
              </a:xfrm>
              <a:custGeom>
                <a:avLst/>
                <a:gdLst>
                  <a:gd name="connsiteX0" fmla="*/ 406195 w 609292"/>
                  <a:gd name="connsiteY0" fmla="*/ 0 h 2030975"/>
                  <a:gd name="connsiteX1" fmla="*/ 203098 w 609292"/>
                  <a:gd name="connsiteY1" fmla="*/ 0 h 2030975"/>
                  <a:gd name="connsiteX2" fmla="*/ 203098 w 609292"/>
                  <a:gd name="connsiteY2" fmla="*/ 507744 h 2030975"/>
                  <a:gd name="connsiteX3" fmla="*/ 0 w 609292"/>
                  <a:gd name="connsiteY3" fmla="*/ 507744 h 2030975"/>
                  <a:gd name="connsiteX4" fmla="*/ 0 w 609292"/>
                  <a:gd name="connsiteY4" fmla="*/ 2030976 h 2030975"/>
                  <a:gd name="connsiteX5" fmla="*/ 609293 w 609292"/>
                  <a:gd name="connsiteY5" fmla="*/ 2030976 h 2030975"/>
                  <a:gd name="connsiteX6" fmla="*/ 609293 w 609292"/>
                  <a:gd name="connsiteY6" fmla="*/ 507744 h 2030975"/>
                  <a:gd name="connsiteX7" fmla="*/ 406195 w 609292"/>
                  <a:gd name="connsiteY7" fmla="*/ 507744 h 2030975"/>
                  <a:gd name="connsiteX8" fmla="*/ 406195 w 609292"/>
                  <a:gd name="connsiteY8" fmla="*/ 1827878 h 2030975"/>
                  <a:gd name="connsiteX9" fmla="*/ 203098 w 609292"/>
                  <a:gd name="connsiteY9" fmla="*/ 1827878 h 2030975"/>
                  <a:gd name="connsiteX10" fmla="*/ 203098 w 609292"/>
                  <a:gd name="connsiteY10" fmla="*/ 710842 h 2030975"/>
                  <a:gd name="connsiteX11" fmla="*/ 406195 w 609292"/>
                  <a:gd name="connsiteY11" fmla="*/ 710842 h 203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9292" h="2030975">
                    <a:moveTo>
                      <a:pt x="406195" y="0"/>
                    </a:moveTo>
                    <a:lnTo>
                      <a:pt x="203098" y="0"/>
                    </a:lnTo>
                    <a:lnTo>
                      <a:pt x="203098" y="507744"/>
                    </a:lnTo>
                    <a:lnTo>
                      <a:pt x="0" y="507744"/>
                    </a:lnTo>
                    <a:lnTo>
                      <a:pt x="0" y="2030976"/>
                    </a:lnTo>
                    <a:lnTo>
                      <a:pt x="609293" y="2030976"/>
                    </a:lnTo>
                    <a:lnTo>
                      <a:pt x="609293" y="507744"/>
                    </a:lnTo>
                    <a:lnTo>
                      <a:pt x="406195" y="507744"/>
                    </a:lnTo>
                    <a:close/>
                    <a:moveTo>
                      <a:pt x="406195" y="1827878"/>
                    </a:moveTo>
                    <a:lnTo>
                      <a:pt x="203098" y="1827878"/>
                    </a:lnTo>
                    <a:lnTo>
                      <a:pt x="203098" y="710842"/>
                    </a:lnTo>
                    <a:lnTo>
                      <a:pt x="406195" y="710842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5" name="Freeform: Shape 281">
                <a:extLst>
                  <a:ext uri="{FF2B5EF4-FFF2-40B4-BE49-F238E27FC236}">
                    <a16:creationId xmlns:a16="http://schemas.microsoft.com/office/drawing/2014/main" id="{C0D4493A-EA44-D643-9314-28825EA85357}"/>
                  </a:ext>
                </a:extLst>
              </p:cNvPr>
              <p:cNvSpPr/>
              <p:nvPr/>
            </p:nvSpPr>
            <p:spPr>
              <a:xfrm>
                <a:off x="2337926" y="4546036"/>
                <a:ext cx="609293" cy="2030976"/>
              </a:xfrm>
              <a:custGeom>
                <a:avLst/>
                <a:gdLst>
                  <a:gd name="connsiteX0" fmla="*/ 406195 w 609292"/>
                  <a:gd name="connsiteY0" fmla="*/ 0 h 2030975"/>
                  <a:gd name="connsiteX1" fmla="*/ 203098 w 609292"/>
                  <a:gd name="connsiteY1" fmla="*/ 0 h 2030975"/>
                  <a:gd name="connsiteX2" fmla="*/ 203098 w 609292"/>
                  <a:gd name="connsiteY2" fmla="*/ 507744 h 2030975"/>
                  <a:gd name="connsiteX3" fmla="*/ 0 w 609292"/>
                  <a:gd name="connsiteY3" fmla="*/ 507744 h 2030975"/>
                  <a:gd name="connsiteX4" fmla="*/ 0 w 609292"/>
                  <a:gd name="connsiteY4" fmla="*/ 1218586 h 2030975"/>
                  <a:gd name="connsiteX5" fmla="*/ 203098 w 609292"/>
                  <a:gd name="connsiteY5" fmla="*/ 1218586 h 2030975"/>
                  <a:gd name="connsiteX6" fmla="*/ 203098 w 609292"/>
                  <a:gd name="connsiteY6" fmla="*/ 2030976 h 2030975"/>
                  <a:gd name="connsiteX7" fmla="*/ 406195 w 609292"/>
                  <a:gd name="connsiteY7" fmla="*/ 2030976 h 2030975"/>
                  <a:gd name="connsiteX8" fmla="*/ 406195 w 609292"/>
                  <a:gd name="connsiteY8" fmla="*/ 1218586 h 2030975"/>
                  <a:gd name="connsiteX9" fmla="*/ 609293 w 609292"/>
                  <a:gd name="connsiteY9" fmla="*/ 1218586 h 2030975"/>
                  <a:gd name="connsiteX10" fmla="*/ 609293 w 609292"/>
                  <a:gd name="connsiteY10" fmla="*/ 507744 h 2030975"/>
                  <a:gd name="connsiteX11" fmla="*/ 406195 w 609292"/>
                  <a:gd name="connsiteY11" fmla="*/ 507744 h 2030975"/>
                  <a:gd name="connsiteX12" fmla="*/ 406195 w 609292"/>
                  <a:gd name="connsiteY12" fmla="*/ 1015488 h 2030975"/>
                  <a:gd name="connsiteX13" fmla="*/ 203098 w 609292"/>
                  <a:gd name="connsiteY13" fmla="*/ 1015488 h 2030975"/>
                  <a:gd name="connsiteX14" fmla="*/ 203098 w 609292"/>
                  <a:gd name="connsiteY14" fmla="*/ 710842 h 2030975"/>
                  <a:gd name="connsiteX15" fmla="*/ 406195 w 609292"/>
                  <a:gd name="connsiteY15" fmla="*/ 710842 h 203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09292" h="2030975">
                    <a:moveTo>
                      <a:pt x="406195" y="0"/>
                    </a:moveTo>
                    <a:lnTo>
                      <a:pt x="203098" y="0"/>
                    </a:lnTo>
                    <a:lnTo>
                      <a:pt x="203098" y="507744"/>
                    </a:lnTo>
                    <a:lnTo>
                      <a:pt x="0" y="507744"/>
                    </a:lnTo>
                    <a:lnTo>
                      <a:pt x="0" y="1218586"/>
                    </a:lnTo>
                    <a:lnTo>
                      <a:pt x="203098" y="1218586"/>
                    </a:lnTo>
                    <a:lnTo>
                      <a:pt x="203098" y="2030976"/>
                    </a:lnTo>
                    <a:lnTo>
                      <a:pt x="406195" y="2030976"/>
                    </a:lnTo>
                    <a:lnTo>
                      <a:pt x="406195" y="1218586"/>
                    </a:lnTo>
                    <a:lnTo>
                      <a:pt x="609293" y="1218586"/>
                    </a:lnTo>
                    <a:lnTo>
                      <a:pt x="609293" y="507744"/>
                    </a:lnTo>
                    <a:lnTo>
                      <a:pt x="406195" y="507744"/>
                    </a:lnTo>
                    <a:close/>
                    <a:moveTo>
                      <a:pt x="406195" y="1015488"/>
                    </a:moveTo>
                    <a:lnTo>
                      <a:pt x="203098" y="1015488"/>
                    </a:lnTo>
                    <a:lnTo>
                      <a:pt x="203098" y="710842"/>
                    </a:lnTo>
                    <a:lnTo>
                      <a:pt x="406195" y="710842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6" name="Freeform: Shape 282">
                <a:extLst>
                  <a:ext uri="{FF2B5EF4-FFF2-40B4-BE49-F238E27FC236}">
                    <a16:creationId xmlns:a16="http://schemas.microsoft.com/office/drawing/2014/main" id="{EFF5BBEC-AE23-7949-95AF-AB9FB213D236}"/>
                  </a:ext>
                </a:extLst>
              </p:cNvPr>
              <p:cNvSpPr/>
              <p:nvPr/>
            </p:nvSpPr>
            <p:spPr>
              <a:xfrm>
                <a:off x="3251865" y="4546036"/>
                <a:ext cx="609293" cy="2030976"/>
              </a:xfrm>
              <a:custGeom>
                <a:avLst/>
                <a:gdLst>
                  <a:gd name="connsiteX0" fmla="*/ 406195 w 609292"/>
                  <a:gd name="connsiteY0" fmla="*/ 0 h 2030975"/>
                  <a:gd name="connsiteX1" fmla="*/ 203098 w 609292"/>
                  <a:gd name="connsiteY1" fmla="*/ 0 h 2030975"/>
                  <a:gd name="connsiteX2" fmla="*/ 203098 w 609292"/>
                  <a:gd name="connsiteY2" fmla="*/ 1015488 h 2030975"/>
                  <a:gd name="connsiteX3" fmla="*/ 0 w 609292"/>
                  <a:gd name="connsiteY3" fmla="*/ 1015488 h 2030975"/>
                  <a:gd name="connsiteX4" fmla="*/ 0 w 609292"/>
                  <a:gd name="connsiteY4" fmla="*/ 1624781 h 2030975"/>
                  <a:gd name="connsiteX5" fmla="*/ 203098 w 609292"/>
                  <a:gd name="connsiteY5" fmla="*/ 1624781 h 2030975"/>
                  <a:gd name="connsiteX6" fmla="*/ 203098 w 609292"/>
                  <a:gd name="connsiteY6" fmla="*/ 2030976 h 2030975"/>
                  <a:gd name="connsiteX7" fmla="*/ 406195 w 609292"/>
                  <a:gd name="connsiteY7" fmla="*/ 2030976 h 2030975"/>
                  <a:gd name="connsiteX8" fmla="*/ 406195 w 609292"/>
                  <a:gd name="connsiteY8" fmla="*/ 1624781 h 2030975"/>
                  <a:gd name="connsiteX9" fmla="*/ 609293 w 609292"/>
                  <a:gd name="connsiteY9" fmla="*/ 1624781 h 2030975"/>
                  <a:gd name="connsiteX10" fmla="*/ 609293 w 609292"/>
                  <a:gd name="connsiteY10" fmla="*/ 1015488 h 2030975"/>
                  <a:gd name="connsiteX11" fmla="*/ 406195 w 609292"/>
                  <a:gd name="connsiteY11" fmla="*/ 1015488 h 2030975"/>
                  <a:gd name="connsiteX12" fmla="*/ 406195 w 609292"/>
                  <a:gd name="connsiteY12" fmla="*/ 1421683 h 2030975"/>
                  <a:gd name="connsiteX13" fmla="*/ 203098 w 609292"/>
                  <a:gd name="connsiteY13" fmla="*/ 1421683 h 2030975"/>
                  <a:gd name="connsiteX14" fmla="*/ 203098 w 609292"/>
                  <a:gd name="connsiteY14" fmla="*/ 1218586 h 2030975"/>
                  <a:gd name="connsiteX15" fmla="*/ 406195 w 609292"/>
                  <a:gd name="connsiteY15" fmla="*/ 1218586 h 203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09292" h="2030975">
                    <a:moveTo>
                      <a:pt x="406195" y="0"/>
                    </a:moveTo>
                    <a:lnTo>
                      <a:pt x="203098" y="0"/>
                    </a:lnTo>
                    <a:lnTo>
                      <a:pt x="203098" y="1015488"/>
                    </a:lnTo>
                    <a:lnTo>
                      <a:pt x="0" y="1015488"/>
                    </a:lnTo>
                    <a:lnTo>
                      <a:pt x="0" y="1624781"/>
                    </a:lnTo>
                    <a:lnTo>
                      <a:pt x="203098" y="1624781"/>
                    </a:lnTo>
                    <a:lnTo>
                      <a:pt x="203098" y="2030976"/>
                    </a:lnTo>
                    <a:lnTo>
                      <a:pt x="406195" y="2030976"/>
                    </a:lnTo>
                    <a:lnTo>
                      <a:pt x="406195" y="1624781"/>
                    </a:lnTo>
                    <a:lnTo>
                      <a:pt x="609293" y="1624781"/>
                    </a:lnTo>
                    <a:lnTo>
                      <a:pt x="609293" y="1015488"/>
                    </a:lnTo>
                    <a:lnTo>
                      <a:pt x="406195" y="1015488"/>
                    </a:lnTo>
                    <a:close/>
                    <a:moveTo>
                      <a:pt x="406195" y="1421683"/>
                    </a:moveTo>
                    <a:lnTo>
                      <a:pt x="203098" y="1421683"/>
                    </a:lnTo>
                    <a:lnTo>
                      <a:pt x="203098" y="1218586"/>
                    </a:lnTo>
                    <a:lnTo>
                      <a:pt x="406195" y="1218586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7" name="Freeform: Shape 283">
                <a:extLst>
                  <a:ext uri="{FF2B5EF4-FFF2-40B4-BE49-F238E27FC236}">
                    <a16:creationId xmlns:a16="http://schemas.microsoft.com/office/drawing/2014/main" id="{9E3818B2-39E9-E942-9453-B918547373C8}"/>
                  </a:ext>
                </a:extLst>
              </p:cNvPr>
              <p:cNvSpPr/>
              <p:nvPr/>
            </p:nvSpPr>
            <p:spPr>
              <a:xfrm>
                <a:off x="4165804" y="4546036"/>
                <a:ext cx="609293" cy="2030976"/>
              </a:xfrm>
              <a:custGeom>
                <a:avLst/>
                <a:gdLst>
                  <a:gd name="connsiteX0" fmla="*/ 406195 w 609292"/>
                  <a:gd name="connsiteY0" fmla="*/ 0 h 2030975"/>
                  <a:gd name="connsiteX1" fmla="*/ 203098 w 609292"/>
                  <a:gd name="connsiteY1" fmla="*/ 0 h 2030975"/>
                  <a:gd name="connsiteX2" fmla="*/ 203098 w 609292"/>
                  <a:gd name="connsiteY2" fmla="*/ 203098 h 2030975"/>
                  <a:gd name="connsiteX3" fmla="*/ 0 w 609292"/>
                  <a:gd name="connsiteY3" fmla="*/ 203098 h 2030975"/>
                  <a:gd name="connsiteX4" fmla="*/ 0 w 609292"/>
                  <a:gd name="connsiteY4" fmla="*/ 1117037 h 2030975"/>
                  <a:gd name="connsiteX5" fmla="*/ 203098 w 609292"/>
                  <a:gd name="connsiteY5" fmla="*/ 1117037 h 2030975"/>
                  <a:gd name="connsiteX6" fmla="*/ 203098 w 609292"/>
                  <a:gd name="connsiteY6" fmla="*/ 2030976 h 2030975"/>
                  <a:gd name="connsiteX7" fmla="*/ 406195 w 609292"/>
                  <a:gd name="connsiteY7" fmla="*/ 2030976 h 2030975"/>
                  <a:gd name="connsiteX8" fmla="*/ 406195 w 609292"/>
                  <a:gd name="connsiteY8" fmla="*/ 1117037 h 2030975"/>
                  <a:gd name="connsiteX9" fmla="*/ 609293 w 609292"/>
                  <a:gd name="connsiteY9" fmla="*/ 1117037 h 2030975"/>
                  <a:gd name="connsiteX10" fmla="*/ 609293 w 609292"/>
                  <a:gd name="connsiteY10" fmla="*/ 203098 h 2030975"/>
                  <a:gd name="connsiteX11" fmla="*/ 406195 w 609292"/>
                  <a:gd name="connsiteY11" fmla="*/ 203098 h 2030975"/>
                  <a:gd name="connsiteX12" fmla="*/ 406195 w 609292"/>
                  <a:gd name="connsiteY12" fmla="*/ 913939 h 2030975"/>
                  <a:gd name="connsiteX13" fmla="*/ 203098 w 609292"/>
                  <a:gd name="connsiteY13" fmla="*/ 913939 h 2030975"/>
                  <a:gd name="connsiteX14" fmla="*/ 203098 w 609292"/>
                  <a:gd name="connsiteY14" fmla="*/ 406195 h 2030975"/>
                  <a:gd name="connsiteX15" fmla="*/ 406195 w 609292"/>
                  <a:gd name="connsiteY15" fmla="*/ 406195 h 203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09292" h="2030975">
                    <a:moveTo>
                      <a:pt x="406195" y="0"/>
                    </a:moveTo>
                    <a:lnTo>
                      <a:pt x="203098" y="0"/>
                    </a:lnTo>
                    <a:lnTo>
                      <a:pt x="203098" y="203098"/>
                    </a:lnTo>
                    <a:lnTo>
                      <a:pt x="0" y="203098"/>
                    </a:lnTo>
                    <a:lnTo>
                      <a:pt x="0" y="1117037"/>
                    </a:lnTo>
                    <a:lnTo>
                      <a:pt x="203098" y="1117037"/>
                    </a:lnTo>
                    <a:lnTo>
                      <a:pt x="203098" y="2030976"/>
                    </a:lnTo>
                    <a:lnTo>
                      <a:pt x="406195" y="2030976"/>
                    </a:lnTo>
                    <a:lnTo>
                      <a:pt x="406195" y="1117037"/>
                    </a:lnTo>
                    <a:lnTo>
                      <a:pt x="609293" y="1117037"/>
                    </a:lnTo>
                    <a:lnTo>
                      <a:pt x="609293" y="203098"/>
                    </a:lnTo>
                    <a:lnTo>
                      <a:pt x="406195" y="203098"/>
                    </a:lnTo>
                    <a:close/>
                    <a:moveTo>
                      <a:pt x="406195" y="913939"/>
                    </a:moveTo>
                    <a:lnTo>
                      <a:pt x="203098" y="913939"/>
                    </a:lnTo>
                    <a:lnTo>
                      <a:pt x="203098" y="406195"/>
                    </a:lnTo>
                    <a:lnTo>
                      <a:pt x="406195" y="406195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08" name="Freeform: Shape 284">
                <a:extLst>
                  <a:ext uri="{FF2B5EF4-FFF2-40B4-BE49-F238E27FC236}">
                    <a16:creationId xmlns:a16="http://schemas.microsoft.com/office/drawing/2014/main" id="{32B7855E-9844-EB44-89F2-B58FB291E05C}"/>
                  </a:ext>
                </a:extLst>
              </p:cNvPr>
              <p:cNvSpPr/>
              <p:nvPr/>
            </p:nvSpPr>
            <p:spPr>
              <a:xfrm>
                <a:off x="1503173" y="280987"/>
                <a:ext cx="3693837" cy="4061952"/>
              </a:xfrm>
              <a:custGeom>
                <a:avLst/>
                <a:gdLst>
                  <a:gd name="connsiteX0" fmla="*/ 3520934 w 3693837"/>
                  <a:gd name="connsiteY0" fmla="*/ 3164273 h 4061951"/>
                  <a:gd name="connsiteX1" fmla="*/ 3168839 w 3693837"/>
                  <a:gd name="connsiteY1" fmla="*/ 2777474 h 4061951"/>
                  <a:gd name="connsiteX2" fmla="*/ 2459534 w 3693837"/>
                  <a:gd name="connsiteY2" fmla="*/ 2564704 h 4061951"/>
                  <a:gd name="connsiteX3" fmla="*/ 2459534 w 3693837"/>
                  <a:gd name="connsiteY3" fmla="*/ 2363434 h 4061951"/>
                  <a:gd name="connsiteX4" fmla="*/ 2637841 w 3693837"/>
                  <a:gd name="connsiteY4" fmla="*/ 2023246 h 4061951"/>
                  <a:gd name="connsiteX5" fmla="*/ 2967278 w 3693837"/>
                  <a:gd name="connsiteY5" fmla="*/ 1624781 h 4061951"/>
                  <a:gd name="connsiteX6" fmla="*/ 2967278 w 3693837"/>
                  <a:gd name="connsiteY6" fmla="*/ 1117037 h 4061951"/>
                  <a:gd name="connsiteX7" fmla="*/ 1850241 w 3693837"/>
                  <a:gd name="connsiteY7" fmla="*/ 0 h 4061951"/>
                  <a:gd name="connsiteX8" fmla="*/ 733204 w 3693837"/>
                  <a:gd name="connsiteY8" fmla="*/ 1117037 h 4061951"/>
                  <a:gd name="connsiteX9" fmla="*/ 733204 w 3693837"/>
                  <a:gd name="connsiteY9" fmla="*/ 1624781 h 4061951"/>
                  <a:gd name="connsiteX10" fmla="*/ 1062642 w 3693837"/>
                  <a:gd name="connsiteY10" fmla="*/ 2023246 h 4061951"/>
                  <a:gd name="connsiteX11" fmla="*/ 1240948 w 3693837"/>
                  <a:gd name="connsiteY11" fmla="*/ 2363434 h 4061951"/>
                  <a:gd name="connsiteX12" fmla="*/ 1240948 w 3693837"/>
                  <a:gd name="connsiteY12" fmla="*/ 2564704 h 4061951"/>
                  <a:gd name="connsiteX13" fmla="*/ 531644 w 3693837"/>
                  <a:gd name="connsiteY13" fmla="*/ 2777563 h 4061951"/>
                  <a:gd name="connsiteX14" fmla="*/ 179545 w 3693837"/>
                  <a:gd name="connsiteY14" fmla="*/ 3164375 h 4061951"/>
                  <a:gd name="connsiteX15" fmla="*/ 0 w 3693837"/>
                  <a:gd name="connsiteY15" fmla="*/ 4061952 h 4061951"/>
                  <a:gd name="connsiteX16" fmla="*/ 3700485 w 3693837"/>
                  <a:gd name="connsiteY16" fmla="*/ 4061952 h 4061951"/>
                  <a:gd name="connsiteX17" fmla="*/ 1444046 w 3693837"/>
                  <a:gd name="connsiteY17" fmla="*/ 2530393 h 4061951"/>
                  <a:gd name="connsiteX18" fmla="*/ 1850241 w 3693837"/>
                  <a:gd name="connsiteY18" fmla="*/ 2640269 h 4061951"/>
                  <a:gd name="connsiteX19" fmla="*/ 2256436 w 3693837"/>
                  <a:gd name="connsiteY19" fmla="*/ 2530393 h 4061951"/>
                  <a:gd name="connsiteX20" fmla="*/ 2256436 w 3693837"/>
                  <a:gd name="connsiteY20" fmla="*/ 2582805 h 4061951"/>
                  <a:gd name="connsiteX21" fmla="*/ 1850241 w 3693837"/>
                  <a:gd name="connsiteY21" fmla="*/ 2826509 h 4061951"/>
                  <a:gd name="connsiteX22" fmla="*/ 1444046 w 3693837"/>
                  <a:gd name="connsiteY22" fmla="*/ 2582805 h 4061951"/>
                  <a:gd name="connsiteX23" fmla="*/ 2371821 w 3693837"/>
                  <a:gd name="connsiteY23" fmla="*/ 2750449 h 4061951"/>
                  <a:gd name="connsiteX24" fmla="*/ 2459534 w 3693837"/>
                  <a:gd name="connsiteY24" fmla="*/ 2776776 h 4061951"/>
                  <a:gd name="connsiteX25" fmla="*/ 2459534 w 3693837"/>
                  <a:gd name="connsiteY25" fmla="*/ 3004423 h 4061951"/>
                  <a:gd name="connsiteX26" fmla="*/ 2256436 w 3693837"/>
                  <a:gd name="connsiteY26" fmla="*/ 3207520 h 4061951"/>
                  <a:gd name="connsiteX27" fmla="*/ 2014014 w 3693837"/>
                  <a:gd name="connsiteY27" fmla="*/ 2965149 h 4061951"/>
                  <a:gd name="connsiteX28" fmla="*/ 1850241 w 3693837"/>
                  <a:gd name="connsiteY28" fmla="*/ 2437171 h 4061951"/>
                  <a:gd name="connsiteX29" fmla="*/ 1240948 w 3693837"/>
                  <a:gd name="connsiteY29" fmla="*/ 1827878 h 4061951"/>
                  <a:gd name="connsiteX30" fmla="*/ 1240948 w 3693837"/>
                  <a:gd name="connsiteY30" fmla="*/ 1494925 h 4061951"/>
                  <a:gd name="connsiteX31" fmla="*/ 1647143 w 3693837"/>
                  <a:gd name="connsiteY31" fmla="*/ 1359459 h 4061951"/>
                  <a:gd name="connsiteX32" fmla="*/ 1647143 w 3693837"/>
                  <a:gd name="connsiteY32" fmla="*/ 1523232 h 4061951"/>
                  <a:gd name="connsiteX33" fmla="*/ 1748692 w 3693837"/>
                  <a:gd name="connsiteY33" fmla="*/ 1523232 h 4061951"/>
                  <a:gd name="connsiteX34" fmla="*/ 2459534 w 3693837"/>
                  <a:gd name="connsiteY34" fmla="*/ 1378550 h 4061951"/>
                  <a:gd name="connsiteX35" fmla="*/ 2459534 w 3693837"/>
                  <a:gd name="connsiteY35" fmla="*/ 1827878 h 4061951"/>
                  <a:gd name="connsiteX36" fmla="*/ 1850241 w 3693837"/>
                  <a:gd name="connsiteY36" fmla="*/ 2437171 h 4061951"/>
                  <a:gd name="connsiteX37" fmla="*/ 2662631 w 3693837"/>
                  <a:gd name="connsiteY37" fmla="*/ 1799660 h 4061951"/>
                  <a:gd name="connsiteX38" fmla="*/ 2662631 w 3693837"/>
                  <a:gd name="connsiteY38" fmla="*/ 1449990 h 4061951"/>
                  <a:gd name="connsiteX39" fmla="*/ 2764180 w 3693837"/>
                  <a:gd name="connsiteY39" fmla="*/ 1624882 h 4061951"/>
                  <a:gd name="connsiteX40" fmla="*/ 2662631 w 3693837"/>
                  <a:gd name="connsiteY40" fmla="*/ 1799660 h 4061951"/>
                  <a:gd name="connsiteX41" fmla="*/ 1850241 w 3693837"/>
                  <a:gd name="connsiteY41" fmla="*/ 203098 h 4061951"/>
                  <a:gd name="connsiteX42" fmla="*/ 2764180 w 3693837"/>
                  <a:gd name="connsiteY42" fmla="*/ 1117037 h 4061951"/>
                  <a:gd name="connsiteX43" fmla="*/ 2764180 w 3693837"/>
                  <a:gd name="connsiteY43" fmla="*/ 1275059 h 4061951"/>
                  <a:gd name="connsiteX44" fmla="*/ 2662631 w 3693837"/>
                  <a:gd name="connsiteY44" fmla="*/ 1233014 h 4061951"/>
                  <a:gd name="connsiteX45" fmla="*/ 2662631 w 3693837"/>
                  <a:gd name="connsiteY45" fmla="*/ 1117037 h 4061951"/>
                  <a:gd name="connsiteX46" fmla="*/ 2459534 w 3693837"/>
                  <a:gd name="connsiteY46" fmla="*/ 1117037 h 4061951"/>
                  <a:gd name="connsiteX47" fmla="*/ 2459534 w 3693837"/>
                  <a:gd name="connsiteY47" fmla="*/ 1155019 h 4061951"/>
                  <a:gd name="connsiteX48" fmla="*/ 1850241 w 3693837"/>
                  <a:gd name="connsiteY48" fmla="*/ 1317012 h 4061951"/>
                  <a:gd name="connsiteX49" fmla="*/ 1850241 w 3693837"/>
                  <a:gd name="connsiteY49" fmla="*/ 1077816 h 4061951"/>
                  <a:gd name="connsiteX50" fmla="*/ 1240948 w 3693837"/>
                  <a:gd name="connsiteY50" fmla="*/ 1280911 h 4061951"/>
                  <a:gd name="connsiteX51" fmla="*/ 1240948 w 3693837"/>
                  <a:gd name="connsiteY51" fmla="*/ 1117037 h 4061951"/>
                  <a:gd name="connsiteX52" fmla="*/ 1037851 w 3693837"/>
                  <a:gd name="connsiteY52" fmla="*/ 1117037 h 4061951"/>
                  <a:gd name="connsiteX53" fmla="*/ 1037851 w 3693837"/>
                  <a:gd name="connsiteY53" fmla="*/ 1233014 h 4061951"/>
                  <a:gd name="connsiteX54" fmla="*/ 936302 w 3693837"/>
                  <a:gd name="connsiteY54" fmla="*/ 1275059 h 4061951"/>
                  <a:gd name="connsiteX55" fmla="*/ 936302 w 3693837"/>
                  <a:gd name="connsiteY55" fmla="*/ 1117037 h 4061951"/>
                  <a:gd name="connsiteX56" fmla="*/ 1850241 w 3693837"/>
                  <a:gd name="connsiteY56" fmla="*/ 203098 h 4061951"/>
                  <a:gd name="connsiteX57" fmla="*/ 936302 w 3693837"/>
                  <a:gd name="connsiteY57" fmla="*/ 1624781 h 4061951"/>
                  <a:gd name="connsiteX58" fmla="*/ 1037851 w 3693837"/>
                  <a:gd name="connsiteY58" fmla="*/ 1449901 h 4061951"/>
                  <a:gd name="connsiteX59" fmla="*/ 1037851 w 3693837"/>
                  <a:gd name="connsiteY59" fmla="*/ 1799572 h 4061951"/>
                  <a:gd name="connsiteX60" fmla="*/ 936302 w 3693837"/>
                  <a:gd name="connsiteY60" fmla="*/ 1624781 h 4061951"/>
                  <a:gd name="connsiteX61" fmla="*/ 1328661 w 3693837"/>
                  <a:gd name="connsiteY61" fmla="*/ 2750449 h 4061951"/>
                  <a:gd name="connsiteX62" fmla="*/ 1686468 w 3693837"/>
                  <a:gd name="connsiteY62" fmla="*/ 2965149 h 4061951"/>
                  <a:gd name="connsiteX63" fmla="*/ 1444046 w 3693837"/>
                  <a:gd name="connsiteY63" fmla="*/ 3207520 h 4061951"/>
                  <a:gd name="connsiteX64" fmla="*/ 1240948 w 3693837"/>
                  <a:gd name="connsiteY64" fmla="*/ 3004423 h 4061951"/>
                  <a:gd name="connsiteX65" fmla="*/ 1240948 w 3693837"/>
                  <a:gd name="connsiteY65" fmla="*/ 2776776 h 4061951"/>
                  <a:gd name="connsiteX66" fmla="*/ 2852337 w 3693837"/>
                  <a:gd name="connsiteY66" fmla="*/ 3858854 h 4061951"/>
                  <a:gd name="connsiteX67" fmla="*/ 2763291 w 3693837"/>
                  <a:gd name="connsiteY67" fmla="*/ 3235129 h 4061951"/>
                  <a:gd name="connsiteX68" fmla="*/ 2562225 w 3693837"/>
                  <a:gd name="connsiteY68" fmla="*/ 3263892 h 4061951"/>
                  <a:gd name="connsiteX69" fmla="*/ 2647107 w 3693837"/>
                  <a:gd name="connsiteY69" fmla="*/ 3858854 h 4061951"/>
                  <a:gd name="connsiteX70" fmla="*/ 1053371 w 3693837"/>
                  <a:gd name="connsiteY70" fmla="*/ 3858854 h 4061951"/>
                  <a:gd name="connsiteX71" fmla="*/ 1138408 w 3693837"/>
                  <a:gd name="connsiteY71" fmla="*/ 3263994 h 4061951"/>
                  <a:gd name="connsiteX72" fmla="*/ 937293 w 3693837"/>
                  <a:gd name="connsiteY72" fmla="*/ 3235230 h 4061951"/>
                  <a:gd name="connsiteX73" fmla="*/ 848141 w 3693837"/>
                  <a:gd name="connsiteY73" fmla="*/ 3858854 h 4061951"/>
                  <a:gd name="connsiteX74" fmla="*/ 247822 w 3693837"/>
                  <a:gd name="connsiteY74" fmla="*/ 3858854 h 4061951"/>
                  <a:gd name="connsiteX75" fmla="*/ 378676 w 3693837"/>
                  <a:gd name="connsiteY75" fmla="*/ 3204194 h 4061951"/>
                  <a:gd name="connsiteX76" fmla="*/ 589905 w 3693837"/>
                  <a:gd name="connsiteY76" fmla="*/ 2972143 h 4061951"/>
                  <a:gd name="connsiteX77" fmla="*/ 1037851 w 3693837"/>
                  <a:gd name="connsiteY77" fmla="*/ 2837667 h 4061951"/>
                  <a:gd name="connsiteX78" fmla="*/ 1037851 w 3693837"/>
                  <a:gd name="connsiteY78" fmla="*/ 3088518 h 4061951"/>
                  <a:gd name="connsiteX79" fmla="*/ 1444046 w 3693837"/>
                  <a:gd name="connsiteY79" fmla="*/ 3494713 h 4061951"/>
                  <a:gd name="connsiteX80" fmla="*/ 1850241 w 3693837"/>
                  <a:gd name="connsiteY80" fmla="*/ 3088518 h 4061951"/>
                  <a:gd name="connsiteX81" fmla="*/ 2256436 w 3693837"/>
                  <a:gd name="connsiteY81" fmla="*/ 3494713 h 4061951"/>
                  <a:gd name="connsiteX82" fmla="*/ 2662631 w 3693837"/>
                  <a:gd name="connsiteY82" fmla="*/ 3088518 h 4061951"/>
                  <a:gd name="connsiteX83" fmla="*/ 2662631 w 3693837"/>
                  <a:gd name="connsiteY83" fmla="*/ 2837667 h 4061951"/>
                  <a:gd name="connsiteX84" fmla="*/ 3110576 w 3693837"/>
                  <a:gd name="connsiteY84" fmla="*/ 2972041 h 4061951"/>
                  <a:gd name="connsiteX85" fmla="*/ 3321810 w 3693837"/>
                  <a:gd name="connsiteY85" fmla="*/ 3204042 h 4061951"/>
                  <a:gd name="connsiteX86" fmla="*/ 3452656 w 3693837"/>
                  <a:gd name="connsiteY86" fmla="*/ 3858854 h 406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3693837" h="4061951">
                    <a:moveTo>
                      <a:pt x="3520934" y="3164273"/>
                    </a:moveTo>
                    <a:cubicBezTo>
                      <a:pt x="3484047" y="2979721"/>
                      <a:pt x="3349228" y="2831561"/>
                      <a:pt x="3168839" y="2777474"/>
                    </a:cubicBezTo>
                    <a:lnTo>
                      <a:pt x="2459534" y="2564704"/>
                    </a:lnTo>
                    <a:lnTo>
                      <a:pt x="2459534" y="2363434"/>
                    </a:lnTo>
                    <a:cubicBezTo>
                      <a:pt x="2544124" y="2267394"/>
                      <a:pt x="2606056" y="2151311"/>
                      <a:pt x="2637841" y="2023246"/>
                    </a:cubicBezTo>
                    <a:cubicBezTo>
                      <a:pt x="2825224" y="1987094"/>
                      <a:pt x="2967278" y="1822471"/>
                      <a:pt x="2967278" y="1624781"/>
                    </a:cubicBezTo>
                    <a:lnTo>
                      <a:pt x="2967278" y="1117037"/>
                    </a:lnTo>
                    <a:cubicBezTo>
                      <a:pt x="2967278" y="501150"/>
                      <a:pt x="2466134" y="0"/>
                      <a:pt x="1850241" y="0"/>
                    </a:cubicBezTo>
                    <a:cubicBezTo>
                      <a:pt x="1234347" y="0"/>
                      <a:pt x="733204" y="501150"/>
                      <a:pt x="733204" y="1117037"/>
                    </a:cubicBezTo>
                    <a:lnTo>
                      <a:pt x="733204" y="1624781"/>
                    </a:lnTo>
                    <a:cubicBezTo>
                      <a:pt x="733204" y="1822471"/>
                      <a:pt x="875263" y="1987094"/>
                      <a:pt x="1062642" y="2023246"/>
                    </a:cubicBezTo>
                    <a:cubicBezTo>
                      <a:pt x="1094426" y="2151311"/>
                      <a:pt x="1156357" y="2267394"/>
                      <a:pt x="1240948" y="2363434"/>
                    </a:cubicBezTo>
                    <a:lnTo>
                      <a:pt x="1240948" y="2564704"/>
                    </a:lnTo>
                    <a:lnTo>
                      <a:pt x="531644" y="2777563"/>
                    </a:lnTo>
                    <a:cubicBezTo>
                      <a:pt x="351405" y="2831561"/>
                      <a:pt x="216436" y="2979873"/>
                      <a:pt x="179545" y="3164375"/>
                    </a:cubicBezTo>
                    <a:lnTo>
                      <a:pt x="0" y="4061952"/>
                    </a:lnTo>
                    <a:lnTo>
                      <a:pt x="3700485" y="4061952"/>
                    </a:lnTo>
                    <a:close/>
                    <a:moveTo>
                      <a:pt x="1444046" y="2530393"/>
                    </a:moveTo>
                    <a:cubicBezTo>
                      <a:pt x="1563695" y="2599852"/>
                      <a:pt x="1702183" y="2640269"/>
                      <a:pt x="1850241" y="2640269"/>
                    </a:cubicBezTo>
                    <a:cubicBezTo>
                      <a:pt x="1998299" y="2640269"/>
                      <a:pt x="2136786" y="2599852"/>
                      <a:pt x="2256436" y="2530393"/>
                    </a:cubicBezTo>
                    <a:lnTo>
                      <a:pt x="2256436" y="2582805"/>
                    </a:lnTo>
                    <a:lnTo>
                      <a:pt x="1850241" y="2826509"/>
                    </a:lnTo>
                    <a:lnTo>
                      <a:pt x="1444046" y="2582805"/>
                    </a:lnTo>
                    <a:close/>
                    <a:moveTo>
                      <a:pt x="2371821" y="2750449"/>
                    </a:moveTo>
                    <a:lnTo>
                      <a:pt x="2459534" y="2776776"/>
                    </a:lnTo>
                    <a:lnTo>
                      <a:pt x="2459534" y="3004423"/>
                    </a:lnTo>
                    <a:lnTo>
                      <a:pt x="2256436" y="3207520"/>
                    </a:lnTo>
                    <a:lnTo>
                      <a:pt x="2014014" y="2965149"/>
                    </a:lnTo>
                    <a:close/>
                    <a:moveTo>
                      <a:pt x="1850241" y="2437171"/>
                    </a:moveTo>
                    <a:cubicBezTo>
                      <a:pt x="1514203" y="2437171"/>
                      <a:pt x="1240948" y="2163916"/>
                      <a:pt x="1240948" y="1827878"/>
                    </a:cubicBezTo>
                    <a:lnTo>
                      <a:pt x="1240948" y="1494925"/>
                    </a:lnTo>
                    <a:lnTo>
                      <a:pt x="1647143" y="1359459"/>
                    </a:lnTo>
                    <a:lnTo>
                      <a:pt x="1647143" y="1523232"/>
                    </a:lnTo>
                    <a:lnTo>
                      <a:pt x="1748692" y="1523232"/>
                    </a:lnTo>
                    <a:cubicBezTo>
                      <a:pt x="1992003" y="1523232"/>
                      <a:pt x="2235314" y="1473257"/>
                      <a:pt x="2459534" y="1378550"/>
                    </a:cubicBezTo>
                    <a:lnTo>
                      <a:pt x="2459534" y="1827878"/>
                    </a:lnTo>
                    <a:cubicBezTo>
                      <a:pt x="2459534" y="2163916"/>
                      <a:pt x="2186279" y="2437171"/>
                      <a:pt x="1850241" y="2437171"/>
                    </a:cubicBezTo>
                    <a:close/>
                    <a:moveTo>
                      <a:pt x="2662631" y="1799660"/>
                    </a:moveTo>
                    <a:lnTo>
                      <a:pt x="2662631" y="1449990"/>
                    </a:lnTo>
                    <a:cubicBezTo>
                      <a:pt x="2723078" y="1485253"/>
                      <a:pt x="2764180" y="1550053"/>
                      <a:pt x="2764180" y="1624882"/>
                    </a:cubicBezTo>
                    <a:cubicBezTo>
                      <a:pt x="2764180" y="1699698"/>
                      <a:pt x="2723078" y="1764410"/>
                      <a:pt x="2662631" y="1799660"/>
                    </a:cubicBezTo>
                    <a:close/>
                    <a:moveTo>
                      <a:pt x="1850241" y="203098"/>
                    </a:moveTo>
                    <a:cubicBezTo>
                      <a:pt x="2354215" y="203098"/>
                      <a:pt x="2764180" y="613160"/>
                      <a:pt x="2764180" y="1117037"/>
                    </a:cubicBezTo>
                    <a:lnTo>
                      <a:pt x="2764180" y="1275059"/>
                    </a:lnTo>
                    <a:cubicBezTo>
                      <a:pt x="2732700" y="1256666"/>
                      <a:pt x="2698783" y="1242337"/>
                      <a:pt x="2662631" y="1233014"/>
                    </a:cubicBezTo>
                    <a:lnTo>
                      <a:pt x="2662631" y="1117037"/>
                    </a:lnTo>
                    <a:lnTo>
                      <a:pt x="2459534" y="1117037"/>
                    </a:lnTo>
                    <a:lnTo>
                      <a:pt x="2459534" y="1155019"/>
                    </a:lnTo>
                    <a:cubicBezTo>
                      <a:pt x="2269625" y="1247841"/>
                      <a:pt x="2061170" y="1303480"/>
                      <a:pt x="1850241" y="1317012"/>
                    </a:cubicBezTo>
                    <a:lnTo>
                      <a:pt x="1850241" y="1077816"/>
                    </a:lnTo>
                    <a:lnTo>
                      <a:pt x="1240948" y="1280911"/>
                    </a:lnTo>
                    <a:lnTo>
                      <a:pt x="1240948" y="1117037"/>
                    </a:lnTo>
                    <a:lnTo>
                      <a:pt x="1037851" y="1117037"/>
                    </a:lnTo>
                    <a:lnTo>
                      <a:pt x="1037851" y="1233014"/>
                    </a:lnTo>
                    <a:cubicBezTo>
                      <a:pt x="1001703" y="1242436"/>
                      <a:pt x="967788" y="1256666"/>
                      <a:pt x="936302" y="1275059"/>
                    </a:cubicBezTo>
                    <a:lnTo>
                      <a:pt x="936302" y="1117037"/>
                    </a:lnTo>
                    <a:cubicBezTo>
                      <a:pt x="936302" y="613160"/>
                      <a:pt x="1346267" y="203098"/>
                      <a:pt x="1850241" y="203098"/>
                    </a:cubicBezTo>
                    <a:close/>
                    <a:moveTo>
                      <a:pt x="936302" y="1624781"/>
                    </a:moveTo>
                    <a:cubicBezTo>
                      <a:pt x="936302" y="1549952"/>
                      <a:pt x="977407" y="1485151"/>
                      <a:pt x="1037851" y="1449901"/>
                    </a:cubicBezTo>
                    <a:lnTo>
                      <a:pt x="1037851" y="1799572"/>
                    </a:lnTo>
                    <a:cubicBezTo>
                      <a:pt x="977407" y="1764410"/>
                      <a:pt x="936302" y="1699610"/>
                      <a:pt x="936302" y="1624781"/>
                    </a:cubicBezTo>
                    <a:close/>
                    <a:moveTo>
                      <a:pt x="1328661" y="2750449"/>
                    </a:moveTo>
                    <a:lnTo>
                      <a:pt x="1686468" y="2965149"/>
                    </a:lnTo>
                    <a:lnTo>
                      <a:pt x="1444046" y="3207520"/>
                    </a:lnTo>
                    <a:lnTo>
                      <a:pt x="1240948" y="3004423"/>
                    </a:lnTo>
                    <a:lnTo>
                      <a:pt x="1240948" y="2776776"/>
                    </a:lnTo>
                    <a:close/>
                    <a:moveTo>
                      <a:pt x="2852337" y="3858854"/>
                    </a:moveTo>
                    <a:lnTo>
                      <a:pt x="2763291" y="3235129"/>
                    </a:lnTo>
                    <a:lnTo>
                      <a:pt x="2562225" y="3263892"/>
                    </a:lnTo>
                    <a:lnTo>
                      <a:pt x="2647107" y="3858854"/>
                    </a:lnTo>
                    <a:lnTo>
                      <a:pt x="1053371" y="3858854"/>
                    </a:lnTo>
                    <a:lnTo>
                      <a:pt x="1138408" y="3263994"/>
                    </a:lnTo>
                    <a:lnTo>
                      <a:pt x="937293" y="3235230"/>
                    </a:lnTo>
                    <a:lnTo>
                      <a:pt x="848141" y="3858854"/>
                    </a:lnTo>
                    <a:lnTo>
                      <a:pt x="247822" y="3858854"/>
                    </a:lnTo>
                    <a:lnTo>
                      <a:pt x="378676" y="3204194"/>
                    </a:lnTo>
                    <a:cubicBezTo>
                      <a:pt x="400840" y="3093468"/>
                      <a:pt x="481861" y="3004512"/>
                      <a:pt x="589905" y="2972143"/>
                    </a:cubicBezTo>
                    <a:lnTo>
                      <a:pt x="1037851" y="2837667"/>
                    </a:lnTo>
                    <a:lnTo>
                      <a:pt x="1037851" y="3088518"/>
                    </a:lnTo>
                    <a:lnTo>
                      <a:pt x="1444046" y="3494713"/>
                    </a:lnTo>
                    <a:lnTo>
                      <a:pt x="1850241" y="3088518"/>
                    </a:lnTo>
                    <a:lnTo>
                      <a:pt x="2256436" y="3494713"/>
                    </a:lnTo>
                    <a:lnTo>
                      <a:pt x="2662631" y="3088518"/>
                    </a:lnTo>
                    <a:lnTo>
                      <a:pt x="2662631" y="2837667"/>
                    </a:lnTo>
                    <a:lnTo>
                      <a:pt x="3110576" y="2972041"/>
                    </a:lnTo>
                    <a:cubicBezTo>
                      <a:pt x="3218623" y="3004423"/>
                      <a:pt x="3299647" y="3093367"/>
                      <a:pt x="3321810" y="3204042"/>
                    </a:cubicBezTo>
                    <a:lnTo>
                      <a:pt x="3452656" y="3858854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  <p:sp>
            <p:nvSpPr>
              <p:cNvPr id="209" name="Freeform: Shape 285">
                <a:extLst>
                  <a:ext uri="{FF2B5EF4-FFF2-40B4-BE49-F238E27FC236}">
                    <a16:creationId xmlns:a16="http://schemas.microsoft.com/office/drawing/2014/main" id="{CD532DCF-A6CD-0C40-99D0-0D33657DF6F1}"/>
                  </a:ext>
                </a:extLst>
              </p:cNvPr>
              <p:cNvSpPr/>
              <p:nvPr/>
            </p:nvSpPr>
            <p:spPr>
              <a:xfrm>
                <a:off x="4876646" y="280987"/>
                <a:ext cx="2843366" cy="2843366"/>
              </a:xfrm>
              <a:custGeom>
                <a:avLst/>
                <a:gdLst>
                  <a:gd name="connsiteX0" fmla="*/ 2478527 w 2843366"/>
                  <a:gd name="connsiteY0" fmla="*/ 1062296 h 2843366"/>
                  <a:gd name="connsiteX1" fmla="*/ 2423145 w 2843366"/>
                  <a:gd name="connsiteY1" fmla="*/ 928170 h 2843366"/>
                  <a:gd name="connsiteX2" fmla="*/ 2629416 w 2843366"/>
                  <a:gd name="connsiteY2" fmla="*/ 618862 h 2843366"/>
                  <a:gd name="connsiteX3" fmla="*/ 2224503 w 2843366"/>
                  <a:gd name="connsiteY3" fmla="*/ 213957 h 2843366"/>
                  <a:gd name="connsiteX4" fmla="*/ 1915096 w 2843366"/>
                  <a:gd name="connsiteY4" fmla="*/ 420129 h 2843366"/>
                  <a:gd name="connsiteX5" fmla="*/ 1780975 w 2843366"/>
                  <a:gd name="connsiteY5" fmla="*/ 364743 h 2843366"/>
                  <a:gd name="connsiteX6" fmla="*/ 1707936 w 2843366"/>
                  <a:gd name="connsiteY6" fmla="*/ 0 h 2843366"/>
                  <a:gd name="connsiteX7" fmla="*/ 1135328 w 2843366"/>
                  <a:gd name="connsiteY7" fmla="*/ 0 h 2843366"/>
                  <a:gd name="connsiteX8" fmla="*/ 1062302 w 2843366"/>
                  <a:gd name="connsiteY8" fmla="*/ 364743 h 2843366"/>
                  <a:gd name="connsiteX9" fmla="*/ 928169 w 2843366"/>
                  <a:gd name="connsiteY9" fmla="*/ 420129 h 2843366"/>
                  <a:gd name="connsiteX10" fmla="*/ 618711 w 2843366"/>
                  <a:gd name="connsiteY10" fmla="*/ 213957 h 2843366"/>
                  <a:gd name="connsiteX11" fmla="*/ 213862 w 2843366"/>
                  <a:gd name="connsiteY11" fmla="*/ 618862 h 2843366"/>
                  <a:gd name="connsiteX12" fmla="*/ 420133 w 2843366"/>
                  <a:gd name="connsiteY12" fmla="*/ 928170 h 2843366"/>
                  <a:gd name="connsiteX13" fmla="*/ 364738 w 2843366"/>
                  <a:gd name="connsiteY13" fmla="*/ 1062296 h 2843366"/>
                  <a:gd name="connsiteX14" fmla="*/ 0 w 2843366"/>
                  <a:gd name="connsiteY14" fmla="*/ 1135333 h 2843366"/>
                  <a:gd name="connsiteX15" fmla="*/ 0 w 2843366"/>
                  <a:gd name="connsiteY15" fmla="*/ 1708038 h 2843366"/>
                  <a:gd name="connsiteX16" fmla="*/ 364839 w 2843366"/>
                  <a:gd name="connsiteY16" fmla="*/ 1781077 h 2843366"/>
                  <a:gd name="connsiteX17" fmla="*/ 420222 w 2843366"/>
                  <a:gd name="connsiteY17" fmla="*/ 1915198 h 2843366"/>
                  <a:gd name="connsiteX18" fmla="*/ 213951 w 2843366"/>
                  <a:gd name="connsiteY18" fmla="*/ 2224503 h 2843366"/>
                  <a:gd name="connsiteX19" fmla="*/ 618965 w 2843366"/>
                  <a:gd name="connsiteY19" fmla="*/ 2629416 h 2843366"/>
                  <a:gd name="connsiteX20" fmla="*/ 928270 w 2843366"/>
                  <a:gd name="connsiteY20" fmla="*/ 2423145 h 2843366"/>
                  <a:gd name="connsiteX21" fmla="*/ 1062391 w 2843366"/>
                  <a:gd name="connsiteY21" fmla="*/ 2478527 h 2843366"/>
                  <a:gd name="connsiteX22" fmla="*/ 1135430 w 2843366"/>
                  <a:gd name="connsiteY22" fmla="*/ 2843366 h 2843366"/>
                  <a:gd name="connsiteX23" fmla="*/ 1708038 w 2843366"/>
                  <a:gd name="connsiteY23" fmla="*/ 2843366 h 2843366"/>
                  <a:gd name="connsiteX24" fmla="*/ 1781077 w 2843366"/>
                  <a:gd name="connsiteY24" fmla="*/ 2478628 h 2843366"/>
                  <a:gd name="connsiteX25" fmla="*/ 1915198 w 2843366"/>
                  <a:gd name="connsiteY25" fmla="*/ 2423233 h 2843366"/>
                  <a:gd name="connsiteX26" fmla="*/ 2224503 w 2843366"/>
                  <a:gd name="connsiteY26" fmla="*/ 2629504 h 2843366"/>
                  <a:gd name="connsiteX27" fmla="*/ 2629505 w 2843366"/>
                  <a:gd name="connsiteY27" fmla="*/ 2224655 h 2843366"/>
                  <a:gd name="connsiteX28" fmla="*/ 2423234 w 2843366"/>
                  <a:gd name="connsiteY28" fmla="*/ 1915299 h 2843366"/>
                  <a:gd name="connsiteX29" fmla="*/ 2478628 w 2843366"/>
                  <a:gd name="connsiteY29" fmla="*/ 1781166 h 2843366"/>
                  <a:gd name="connsiteX30" fmla="*/ 2843366 w 2843366"/>
                  <a:gd name="connsiteY30" fmla="*/ 1708038 h 2843366"/>
                  <a:gd name="connsiteX31" fmla="*/ 2843366 w 2843366"/>
                  <a:gd name="connsiteY31" fmla="*/ 1135333 h 2843366"/>
                  <a:gd name="connsiteX32" fmla="*/ 2640269 w 2843366"/>
                  <a:gd name="connsiteY32" fmla="*/ 1541523 h 2843366"/>
                  <a:gd name="connsiteX33" fmla="*/ 2318067 w 2843366"/>
                  <a:gd name="connsiteY33" fmla="*/ 1605994 h 2843366"/>
                  <a:gd name="connsiteX34" fmla="*/ 2301413 w 2843366"/>
                  <a:gd name="connsiteY34" fmla="*/ 1666327 h 2843366"/>
                  <a:gd name="connsiteX35" fmla="*/ 2216823 w 2843366"/>
                  <a:gd name="connsiteY35" fmla="*/ 1871113 h 2843366"/>
                  <a:gd name="connsiteX36" fmla="*/ 2185927 w 2843366"/>
                  <a:gd name="connsiteY36" fmla="*/ 1925556 h 2843366"/>
                  <a:gd name="connsiteX37" fmla="*/ 2368004 w 2843366"/>
                  <a:gd name="connsiteY37" fmla="*/ 2198620 h 2843366"/>
                  <a:gd name="connsiteX38" fmla="*/ 2198620 w 2843366"/>
                  <a:gd name="connsiteY38" fmla="*/ 2368105 h 2843366"/>
                  <a:gd name="connsiteX39" fmla="*/ 1925467 w 2843366"/>
                  <a:gd name="connsiteY39" fmla="*/ 2186028 h 2843366"/>
                  <a:gd name="connsiteX40" fmla="*/ 1871113 w 2843366"/>
                  <a:gd name="connsiteY40" fmla="*/ 2216823 h 2843366"/>
                  <a:gd name="connsiteX41" fmla="*/ 1666136 w 2843366"/>
                  <a:gd name="connsiteY41" fmla="*/ 2301515 h 2843366"/>
                  <a:gd name="connsiteX42" fmla="*/ 1605893 w 2843366"/>
                  <a:gd name="connsiteY42" fmla="*/ 2318169 h 2843366"/>
                  <a:gd name="connsiteX43" fmla="*/ 1541625 w 2843366"/>
                  <a:gd name="connsiteY43" fmla="*/ 2640269 h 2843366"/>
                  <a:gd name="connsiteX44" fmla="*/ 1301843 w 2843366"/>
                  <a:gd name="connsiteY44" fmla="*/ 2640269 h 2843366"/>
                  <a:gd name="connsiteX45" fmla="*/ 1237474 w 2843366"/>
                  <a:gd name="connsiteY45" fmla="*/ 2318169 h 2843366"/>
                  <a:gd name="connsiteX46" fmla="*/ 1177230 w 2843366"/>
                  <a:gd name="connsiteY46" fmla="*/ 2301515 h 2843366"/>
                  <a:gd name="connsiteX47" fmla="*/ 972253 w 2843366"/>
                  <a:gd name="connsiteY47" fmla="*/ 2216823 h 2843366"/>
                  <a:gd name="connsiteX48" fmla="*/ 917912 w 2843366"/>
                  <a:gd name="connsiteY48" fmla="*/ 2186028 h 2843366"/>
                  <a:gd name="connsiteX49" fmla="*/ 644746 w 2843366"/>
                  <a:gd name="connsiteY49" fmla="*/ 2368105 h 2843366"/>
                  <a:gd name="connsiteX50" fmla="*/ 475363 w 2843366"/>
                  <a:gd name="connsiteY50" fmla="*/ 2198620 h 2843366"/>
                  <a:gd name="connsiteX51" fmla="*/ 657440 w 2843366"/>
                  <a:gd name="connsiteY51" fmla="*/ 1925556 h 2843366"/>
                  <a:gd name="connsiteX52" fmla="*/ 626543 w 2843366"/>
                  <a:gd name="connsiteY52" fmla="*/ 1871113 h 2843366"/>
                  <a:gd name="connsiteX53" fmla="*/ 541953 w 2843366"/>
                  <a:gd name="connsiteY53" fmla="*/ 1666327 h 2843366"/>
                  <a:gd name="connsiteX54" fmla="*/ 525299 w 2843366"/>
                  <a:gd name="connsiteY54" fmla="*/ 1605994 h 2843366"/>
                  <a:gd name="connsiteX55" fmla="*/ 203098 w 2843366"/>
                  <a:gd name="connsiteY55" fmla="*/ 1541523 h 2843366"/>
                  <a:gd name="connsiteX56" fmla="*/ 203098 w 2843366"/>
                  <a:gd name="connsiteY56" fmla="*/ 1301843 h 2843366"/>
                  <a:gd name="connsiteX57" fmla="*/ 525299 w 2843366"/>
                  <a:gd name="connsiteY57" fmla="*/ 1237378 h 2843366"/>
                  <a:gd name="connsiteX58" fmla="*/ 541953 w 2843366"/>
                  <a:gd name="connsiteY58" fmla="*/ 1177034 h 2843366"/>
                  <a:gd name="connsiteX59" fmla="*/ 626543 w 2843366"/>
                  <a:gd name="connsiteY59" fmla="*/ 972251 h 2843366"/>
                  <a:gd name="connsiteX60" fmla="*/ 657440 w 2843366"/>
                  <a:gd name="connsiteY60" fmla="*/ 917807 h 2843366"/>
                  <a:gd name="connsiteX61" fmla="*/ 475363 w 2843366"/>
                  <a:gd name="connsiteY61" fmla="*/ 644746 h 2843366"/>
                  <a:gd name="connsiteX62" fmla="*/ 644847 w 2843366"/>
                  <a:gd name="connsiteY62" fmla="*/ 475266 h 2843366"/>
                  <a:gd name="connsiteX63" fmla="*/ 917811 w 2843366"/>
                  <a:gd name="connsiteY63" fmla="*/ 657240 h 2843366"/>
                  <a:gd name="connsiteX64" fmla="*/ 972253 w 2843366"/>
                  <a:gd name="connsiteY64" fmla="*/ 626449 h 2843366"/>
                  <a:gd name="connsiteX65" fmla="*/ 1177230 w 2843366"/>
                  <a:gd name="connsiteY65" fmla="*/ 541858 h 2843366"/>
                  <a:gd name="connsiteX66" fmla="*/ 1237474 w 2843366"/>
                  <a:gd name="connsiteY66" fmla="*/ 525198 h 2843366"/>
                  <a:gd name="connsiteX67" fmla="*/ 1301741 w 2843366"/>
                  <a:gd name="connsiteY67" fmla="*/ 203098 h 2843366"/>
                  <a:gd name="connsiteX68" fmla="*/ 1541524 w 2843366"/>
                  <a:gd name="connsiteY68" fmla="*/ 203098 h 2843366"/>
                  <a:gd name="connsiteX69" fmla="*/ 1605893 w 2843366"/>
                  <a:gd name="connsiteY69" fmla="*/ 525198 h 2843366"/>
                  <a:gd name="connsiteX70" fmla="*/ 1666136 w 2843366"/>
                  <a:gd name="connsiteY70" fmla="*/ 541858 h 2843366"/>
                  <a:gd name="connsiteX71" fmla="*/ 1871113 w 2843366"/>
                  <a:gd name="connsiteY71" fmla="*/ 626449 h 2843366"/>
                  <a:gd name="connsiteX72" fmla="*/ 1925556 w 2843366"/>
                  <a:gd name="connsiteY72" fmla="*/ 657240 h 2843366"/>
                  <a:gd name="connsiteX73" fmla="*/ 2198519 w 2843366"/>
                  <a:gd name="connsiteY73" fmla="*/ 475266 h 2843366"/>
                  <a:gd name="connsiteX74" fmla="*/ 2368004 w 2843366"/>
                  <a:gd name="connsiteY74" fmla="*/ 644746 h 2843366"/>
                  <a:gd name="connsiteX75" fmla="*/ 2185927 w 2843366"/>
                  <a:gd name="connsiteY75" fmla="*/ 917807 h 2843366"/>
                  <a:gd name="connsiteX76" fmla="*/ 2216823 w 2843366"/>
                  <a:gd name="connsiteY76" fmla="*/ 972251 h 2843366"/>
                  <a:gd name="connsiteX77" fmla="*/ 2301413 w 2843366"/>
                  <a:gd name="connsiteY77" fmla="*/ 1177034 h 2843366"/>
                  <a:gd name="connsiteX78" fmla="*/ 2318067 w 2843366"/>
                  <a:gd name="connsiteY78" fmla="*/ 1237378 h 2843366"/>
                  <a:gd name="connsiteX79" fmla="*/ 2640269 w 2843366"/>
                  <a:gd name="connsiteY79" fmla="*/ 1301843 h 2843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2843366" h="2843366">
                    <a:moveTo>
                      <a:pt x="2478527" y="1062296"/>
                    </a:moveTo>
                    <a:cubicBezTo>
                      <a:pt x="2462952" y="1016281"/>
                      <a:pt x="2444457" y="971407"/>
                      <a:pt x="2423145" y="928170"/>
                    </a:cubicBezTo>
                    <a:lnTo>
                      <a:pt x="2629416" y="618862"/>
                    </a:lnTo>
                    <a:lnTo>
                      <a:pt x="2224503" y="213957"/>
                    </a:lnTo>
                    <a:lnTo>
                      <a:pt x="1915096" y="420129"/>
                    </a:lnTo>
                    <a:cubicBezTo>
                      <a:pt x="1871862" y="398907"/>
                      <a:pt x="1827091" y="380412"/>
                      <a:pt x="1780975" y="364743"/>
                    </a:cubicBezTo>
                    <a:lnTo>
                      <a:pt x="1707936" y="0"/>
                    </a:lnTo>
                    <a:lnTo>
                      <a:pt x="1135328" y="0"/>
                    </a:lnTo>
                    <a:lnTo>
                      <a:pt x="1062302" y="364743"/>
                    </a:lnTo>
                    <a:cubicBezTo>
                      <a:pt x="1016186" y="380412"/>
                      <a:pt x="971314" y="398907"/>
                      <a:pt x="928169" y="420129"/>
                    </a:cubicBezTo>
                    <a:lnTo>
                      <a:pt x="618711" y="213957"/>
                    </a:lnTo>
                    <a:lnTo>
                      <a:pt x="213862" y="618862"/>
                    </a:lnTo>
                    <a:lnTo>
                      <a:pt x="420133" y="928170"/>
                    </a:lnTo>
                    <a:cubicBezTo>
                      <a:pt x="398757" y="971407"/>
                      <a:pt x="380313" y="1016281"/>
                      <a:pt x="364738" y="1062296"/>
                    </a:cubicBezTo>
                    <a:lnTo>
                      <a:pt x="0" y="1135333"/>
                    </a:lnTo>
                    <a:lnTo>
                      <a:pt x="0" y="1708038"/>
                    </a:lnTo>
                    <a:lnTo>
                      <a:pt x="364839" y="1781077"/>
                    </a:lnTo>
                    <a:cubicBezTo>
                      <a:pt x="380414" y="1827091"/>
                      <a:pt x="398909" y="1871963"/>
                      <a:pt x="420222" y="1915198"/>
                    </a:cubicBezTo>
                    <a:lnTo>
                      <a:pt x="213951" y="2224503"/>
                    </a:lnTo>
                    <a:lnTo>
                      <a:pt x="618965" y="2629416"/>
                    </a:lnTo>
                    <a:lnTo>
                      <a:pt x="928270" y="2423145"/>
                    </a:lnTo>
                    <a:cubicBezTo>
                      <a:pt x="971505" y="2444356"/>
                      <a:pt x="1016287" y="2462952"/>
                      <a:pt x="1062391" y="2478527"/>
                    </a:cubicBezTo>
                    <a:lnTo>
                      <a:pt x="1135430" y="2843366"/>
                    </a:lnTo>
                    <a:lnTo>
                      <a:pt x="1708038" y="2843366"/>
                    </a:lnTo>
                    <a:lnTo>
                      <a:pt x="1781077" y="2478628"/>
                    </a:lnTo>
                    <a:cubicBezTo>
                      <a:pt x="1827180" y="2462952"/>
                      <a:pt x="1872052" y="2444457"/>
                      <a:pt x="1915198" y="2423233"/>
                    </a:cubicBezTo>
                    <a:lnTo>
                      <a:pt x="2224503" y="2629504"/>
                    </a:lnTo>
                    <a:lnTo>
                      <a:pt x="2629505" y="2224655"/>
                    </a:lnTo>
                    <a:lnTo>
                      <a:pt x="2423234" y="1915299"/>
                    </a:lnTo>
                    <a:cubicBezTo>
                      <a:pt x="2444610" y="1872052"/>
                      <a:pt x="2463053" y="1827180"/>
                      <a:pt x="2478628" y="1781166"/>
                    </a:cubicBezTo>
                    <a:lnTo>
                      <a:pt x="2843366" y="1708038"/>
                    </a:lnTo>
                    <a:lnTo>
                      <a:pt x="2843366" y="1135333"/>
                    </a:lnTo>
                    <a:close/>
                    <a:moveTo>
                      <a:pt x="2640269" y="1541523"/>
                    </a:moveTo>
                    <a:lnTo>
                      <a:pt x="2318067" y="1605994"/>
                    </a:lnTo>
                    <a:lnTo>
                      <a:pt x="2301413" y="1666327"/>
                    </a:lnTo>
                    <a:cubicBezTo>
                      <a:pt x="2281472" y="1738236"/>
                      <a:pt x="2253063" y="1807150"/>
                      <a:pt x="2216823" y="1871113"/>
                    </a:cubicBezTo>
                    <a:lnTo>
                      <a:pt x="2185927" y="1925556"/>
                    </a:lnTo>
                    <a:lnTo>
                      <a:pt x="2368004" y="2198620"/>
                    </a:lnTo>
                    <a:lnTo>
                      <a:pt x="2198620" y="2368105"/>
                    </a:lnTo>
                    <a:lnTo>
                      <a:pt x="1925467" y="2186028"/>
                    </a:lnTo>
                    <a:lnTo>
                      <a:pt x="1871113" y="2216823"/>
                    </a:lnTo>
                    <a:cubicBezTo>
                      <a:pt x="1807454" y="2252962"/>
                      <a:pt x="1738427" y="2281383"/>
                      <a:pt x="1666136" y="2301515"/>
                    </a:cubicBezTo>
                    <a:lnTo>
                      <a:pt x="1605893" y="2318169"/>
                    </a:lnTo>
                    <a:lnTo>
                      <a:pt x="1541625" y="2640269"/>
                    </a:lnTo>
                    <a:lnTo>
                      <a:pt x="1301843" y="2640269"/>
                    </a:lnTo>
                    <a:lnTo>
                      <a:pt x="1237474" y="2318169"/>
                    </a:lnTo>
                    <a:lnTo>
                      <a:pt x="1177230" y="2301515"/>
                    </a:lnTo>
                    <a:cubicBezTo>
                      <a:pt x="1104940" y="2281383"/>
                      <a:pt x="1035912" y="2252962"/>
                      <a:pt x="972253" y="2216823"/>
                    </a:cubicBezTo>
                    <a:lnTo>
                      <a:pt x="917912" y="2186028"/>
                    </a:lnTo>
                    <a:lnTo>
                      <a:pt x="644746" y="2368105"/>
                    </a:lnTo>
                    <a:lnTo>
                      <a:pt x="475363" y="2198620"/>
                    </a:lnTo>
                    <a:lnTo>
                      <a:pt x="657440" y="1925556"/>
                    </a:lnTo>
                    <a:lnTo>
                      <a:pt x="626543" y="1871113"/>
                    </a:lnTo>
                    <a:cubicBezTo>
                      <a:pt x="590303" y="1807150"/>
                      <a:pt x="561895" y="1738236"/>
                      <a:pt x="541953" y="1666327"/>
                    </a:cubicBezTo>
                    <a:lnTo>
                      <a:pt x="525299" y="1605994"/>
                    </a:lnTo>
                    <a:lnTo>
                      <a:pt x="203098" y="1541523"/>
                    </a:lnTo>
                    <a:lnTo>
                      <a:pt x="203098" y="1301843"/>
                    </a:lnTo>
                    <a:lnTo>
                      <a:pt x="525299" y="1237378"/>
                    </a:lnTo>
                    <a:lnTo>
                      <a:pt x="541953" y="1177034"/>
                    </a:lnTo>
                    <a:cubicBezTo>
                      <a:pt x="561895" y="1105137"/>
                      <a:pt x="590303" y="1036214"/>
                      <a:pt x="626543" y="972251"/>
                    </a:cubicBezTo>
                    <a:lnTo>
                      <a:pt x="657440" y="917807"/>
                    </a:lnTo>
                    <a:lnTo>
                      <a:pt x="475363" y="644746"/>
                    </a:lnTo>
                    <a:lnTo>
                      <a:pt x="644847" y="475266"/>
                    </a:lnTo>
                    <a:lnTo>
                      <a:pt x="917811" y="657240"/>
                    </a:lnTo>
                    <a:lnTo>
                      <a:pt x="972253" y="626449"/>
                    </a:lnTo>
                    <a:cubicBezTo>
                      <a:pt x="1035912" y="590401"/>
                      <a:pt x="1104940" y="561890"/>
                      <a:pt x="1177230" y="541858"/>
                    </a:cubicBezTo>
                    <a:lnTo>
                      <a:pt x="1237474" y="525198"/>
                    </a:lnTo>
                    <a:lnTo>
                      <a:pt x="1301741" y="203098"/>
                    </a:lnTo>
                    <a:lnTo>
                      <a:pt x="1541524" y="203098"/>
                    </a:lnTo>
                    <a:lnTo>
                      <a:pt x="1605893" y="525198"/>
                    </a:lnTo>
                    <a:lnTo>
                      <a:pt x="1666136" y="541858"/>
                    </a:lnTo>
                    <a:cubicBezTo>
                      <a:pt x="1738427" y="561989"/>
                      <a:pt x="1807454" y="590401"/>
                      <a:pt x="1871113" y="626449"/>
                    </a:cubicBezTo>
                    <a:lnTo>
                      <a:pt x="1925556" y="657240"/>
                    </a:lnTo>
                    <a:lnTo>
                      <a:pt x="2198519" y="475266"/>
                    </a:lnTo>
                    <a:lnTo>
                      <a:pt x="2368004" y="644746"/>
                    </a:lnTo>
                    <a:lnTo>
                      <a:pt x="2185927" y="917807"/>
                    </a:lnTo>
                    <a:lnTo>
                      <a:pt x="2216823" y="972251"/>
                    </a:lnTo>
                    <a:cubicBezTo>
                      <a:pt x="2253063" y="1036214"/>
                      <a:pt x="2281472" y="1105137"/>
                      <a:pt x="2301413" y="1177034"/>
                    </a:cubicBezTo>
                    <a:lnTo>
                      <a:pt x="2318067" y="1237378"/>
                    </a:lnTo>
                    <a:lnTo>
                      <a:pt x="2640269" y="1301843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10" name="Freeform: Shape 286">
                <a:extLst>
                  <a:ext uri="{FF2B5EF4-FFF2-40B4-BE49-F238E27FC236}">
                    <a16:creationId xmlns:a16="http://schemas.microsoft.com/office/drawing/2014/main" id="{F2A5A0CF-2CAC-6949-A8F4-C4CB29BE9251}"/>
                  </a:ext>
                </a:extLst>
              </p:cNvPr>
              <p:cNvSpPr/>
              <p:nvPr/>
            </p:nvSpPr>
            <p:spPr>
              <a:xfrm>
                <a:off x="5587487" y="991829"/>
                <a:ext cx="1421683" cy="1421683"/>
              </a:xfrm>
              <a:custGeom>
                <a:avLst/>
                <a:gdLst>
                  <a:gd name="connsiteX0" fmla="*/ 710842 w 1421683"/>
                  <a:gd name="connsiteY0" fmla="*/ 0 h 1421683"/>
                  <a:gd name="connsiteX1" fmla="*/ 0 w 1421683"/>
                  <a:gd name="connsiteY1" fmla="*/ 710842 h 1421683"/>
                  <a:gd name="connsiteX2" fmla="*/ 710842 w 1421683"/>
                  <a:gd name="connsiteY2" fmla="*/ 1421683 h 1421683"/>
                  <a:gd name="connsiteX3" fmla="*/ 1421683 w 1421683"/>
                  <a:gd name="connsiteY3" fmla="*/ 710842 h 1421683"/>
                  <a:gd name="connsiteX4" fmla="*/ 710842 w 1421683"/>
                  <a:gd name="connsiteY4" fmla="*/ 0 h 1421683"/>
                  <a:gd name="connsiteX5" fmla="*/ 710842 w 1421683"/>
                  <a:gd name="connsiteY5" fmla="*/ 1218586 h 1421683"/>
                  <a:gd name="connsiteX6" fmla="*/ 203098 w 1421683"/>
                  <a:gd name="connsiteY6" fmla="*/ 710842 h 1421683"/>
                  <a:gd name="connsiteX7" fmla="*/ 710842 w 1421683"/>
                  <a:gd name="connsiteY7" fmla="*/ 203098 h 1421683"/>
                  <a:gd name="connsiteX8" fmla="*/ 1218586 w 1421683"/>
                  <a:gd name="connsiteY8" fmla="*/ 710842 h 1421683"/>
                  <a:gd name="connsiteX9" fmla="*/ 710842 w 1421683"/>
                  <a:gd name="connsiteY9" fmla="*/ 1218586 h 142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1683" h="1421683">
                    <a:moveTo>
                      <a:pt x="710842" y="0"/>
                    </a:moveTo>
                    <a:cubicBezTo>
                      <a:pt x="318977" y="0"/>
                      <a:pt x="0" y="318877"/>
                      <a:pt x="0" y="710842"/>
                    </a:cubicBezTo>
                    <a:cubicBezTo>
                      <a:pt x="0" y="1102807"/>
                      <a:pt x="318977" y="1421683"/>
                      <a:pt x="710842" y="1421683"/>
                    </a:cubicBezTo>
                    <a:cubicBezTo>
                      <a:pt x="1102706" y="1421683"/>
                      <a:pt x="1421683" y="1102807"/>
                      <a:pt x="1421683" y="710842"/>
                    </a:cubicBezTo>
                    <a:cubicBezTo>
                      <a:pt x="1421683" y="318877"/>
                      <a:pt x="1102706" y="0"/>
                      <a:pt x="710842" y="0"/>
                    </a:cubicBezTo>
                    <a:close/>
                    <a:moveTo>
                      <a:pt x="710842" y="1218586"/>
                    </a:moveTo>
                    <a:cubicBezTo>
                      <a:pt x="430884" y="1218586"/>
                      <a:pt x="203098" y="990799"/>
                      <a:pt x="203098" y="710842"/>
                    </a:cubicBezTo>
                    <a:cubicBezTo>
                      <a:pt x="203098" y="430888"/>
                      <a:pt x="430884" y="203098"/>
                      <a:pt x="710842" y="203098"/>
                    </a:cubicBezTo>
                    <a:cubicBezTo>
                      <a:pt x="990799" y="203098"/>
                      <a:pt x="1218586" y="430888"/>
                      <a:pt x="1218586" y="710842"/>
                    </a:cubicBezTo>
                    <a:cubicBezTo>
                      <a:pt x="1218586" y="990799"/>
                      <a:pt x="990799" y="1218586"/>
                      <a:pt x="710842" y="1218586"/>
                    </a:cubicBez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  <p:grpSp>
          <p:nvGrpSpPr>
            <p:cNvPr id="211" name="Graphic 34">
              <a:extLst>
                <a:ext uri="{FF2B5EF4-FFF2-40B4-BE49-F238E27FC236}">
                  <a16:creationId xmlns:a16="http://schemas.microsoft.com/office/drawing/2014/main" id="{F05E0FE2-87EF-3B4E-879D-5F7162AD0D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61173" y="4498642"/>
              <a:ext cx="578690" cy="578690"/>
              <a:chOff x="1319212" y="176212"/>
              <a:chExt cx="6505575" cy="6505575"/>
            </a:xfrm>
            <a:solidFill>
              <a:schemeClr val="bg1"/>
            </a:solidFill>
          </p:grpSpPr>
          <p:sp>
            <p:nvSpPr>
              <p:cNvPr id="212" name="Freeform: Shape 288">
                <a:extLst>
                  <a:ext uri="{FF2B5EF4-FFF2-40B4-BE49-F238E27FC236}">
                    <a16:creationId xmlns:a16="http://schemas.microsoft.com/office/drawing/2014/main" id="{EF5C8F55-C889-3842-B73C-B71CFDFD3618}"/>
                  </a:ext>
                </a:extLst>
              </p:cNvPr>
              <p:cNvSpPr/>
              <p:nvPr/>
            </p:nvSpPr>
            <p:spPr>
              <a:xfrm>
                <a:off x="3258956" y="3002503"/>
                <a:ext cx="1120334" cy="914846"/>
              </a:xfrm>
              <a:custGeom>
                <a:avLst/>
                <a:gdLst>
                  <a:gd name="connsiteX0" fmla="*/ 361244 w 1120333"/>
                  <a:gd name="connsiteY0" fmla="*/ 927197 h 914846"/>
                  <a:gd name="connsiteX1" fmla="*/ 0 w 1120333"/>
                  <a:gd name="connsiteY1" fmla="*/ 566658 h 914846"/>
                  <a:gd name="connsiteX2" fmla="*/ 144026 w 1120333"/>
                  <a:gd name="connsiteY2" fmla="*/ 422824 h 914846"/>
                  <a:gd name="connsiteX3" fmla="*/ 359016 w 1120333"/>
                  <a:gd name="connsiteY3" fmla="*/ 637343 h 914846"/>
                  <a:gd name="connsiteX4" fmla="*/ 977364 w 1120333"/>
                  <a:gd name="connsiteY4" fmla="*/ 0 h 914846"/>
                  <a:gd name="connsiteX5" fmla="*/ 1123720 w 1120333"/>
                  <a:gd name="connsiteY5" fmla="*/ 141445 h 914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0333" h="914846">
                    <a:moveTo>
                      <a:pt x="361244" y="927197"/>
                    </a:moveTo>
                    <a:lnTo>
                      <a:pt x="0" y="566658"/>
                    </a:lnTo>
                    <a:lnTo>
                      <a:pt x="144026" y="422824"/>
                    </a:lnTo>
                    <a:lnTo>
                      <a:pt x="359016" y="637343"/>
                    </a:lnTo>
                    <a:lnTo>
                      <a:pt x="977364" y="0"/>
                    </a:lnTo>
                    <a:lnTo>
                      <a:pt x="1123720" y="141445"/>
                    </a:lnTo>
                    <a:close/>
                  </a:path>
                </a:pathLst>
              </a:custGeom>
              <a:grpFill/>
              <a:ln w="127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13" name="Freeform: Shape 289">
                <a:extLst>
                  <a:ext uri="{FF2B5EF4-FFF2-40B4-BE49-F238E27FC236}">
                    <a16:creationId xmlns:a16="http://schemas.microsoft.com/office/drawing/2014/main" id="{62328791-611F-4A48-B847-8AA4D76D3435}"/>
                  </a:ext>
                </a:extLst>
              </p:cNvPr>
              <p:cNvSpPr/>
              <p:nvPr/>
            </p:nvSpPr>
            <p:spPr>
              <a:xfrm>
                <a:off x="2547760" y="5055393"/>
                <a:ext cx="1629577" cy="203299"/>
              </a:xfrm>
              <a:custGeom>
                <a:avLst/>
                <a:gdLst>
                  <a:gd name="connsiteX0" fmla="*/ 0 w 1629576"/>
                  <a:gd name="connsiteY0" fmla="*/ 0 h 203299"/>
                  <a:gd name="connsiteX1" fmla="*/ 1629577 w 1629576"/>
                  <a:gd name="connsiteY1" fmla="*/ 0 h 203299"/>
                  <a:gd name="connsiteX2" fmla="*/ 1629577 w 1629576"/>
                  <a:gd name="connsiteY2" fmla="*/ 203299 h 203299"/>
                  <a:gd name="connsiteX3" fmla="*/ 0 w 1629576"/>
                  <a:gd name="connsiteY3" fmla="*/ 203299 h 20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9576" h="203299">
                    <a:moveTo>
                      <a:pt x="0" y="0"/>
                    </a:moveTo>
                    <a:lnTo>
                      <a:pt x="1629577" y="0"/>
                    </a:lnTo>
                    <a:lnTo>
                      <a:pt x="1629577" y="203299"/>
                    </a:lnTo>
                    <a:lnTo>
                      <a:pt x="0" y="203299"/>
                    </a:lnTo>
                    <a:close/>
                  </a:path>
                </a:pathLst>
              </a:custGeom>
              <a:grpFill/>
              <a:ln w="127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14" name="Freeform: Shape 290">
                <a:extLst>
                  <a:ext uri="{FF2B5EF4-FFF2-40B4-BE49-F238E27FC236}">
                    <a16:creationId xmlns:a16="http://schemas.microsoft.com/office/drawing/2014/main" id="{3190422B-E9DF-8E4E-B4D0-40ECECBE31B3}"/>
                  </a:ext>
                </a:extLst>
              </p:cNvPr>
              <p:cNvSpPr/>
              <p:nvPr/>
            </p:nvSpPr>
            <p:spPr>
              <a:xfrm>
                <a:off x="2547760" y="5461992"/>
                <a:ext cx="1629577" cy="203299"/>
              </a:xfrm>
              <a:custGeom>
                <a:avLst/>
                <a:gdLst>
                  <a:gd name="connsiteX0" fmla="*/ 0 w 1629576"/>
                  <a:gd name="connsiteY0" fmla="*/ 0 h 203299"/>
                  <a:gd name="connsiteX1" fmla="*/ 1629577 w 1629576"/>
                  <a:gd name="connsiteY1" fmla="*/ 0 h 203299"/>
                  <a:gd name="connsiteX2" fmla="*/ 1629577 w 1629576"/>
                  <a:gd name="connsiteY2" fmla="*/ 203299 h 203299"/>
                  <a:gd name="connsiteX3" fmla="*/ 0 w 1629576"/>
                  <a:gd name="connsiteY3" fmla="*/ 203299 h 20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9576" h="203299">
                    <a:moveTo>
                      <a:pt x="0" y="0"/>
                    </a:moveTo>
                    <a:lnTo>
                      <a:pt x="1629577" y="0"/>
                    </a:lnTo>
                    <a:lnTo>
                      <a:pt x="1629577" y="203299"/>
                    </a:lnTo>
                    <a:lnTo>
                      <a:pt x="0" y="203299"/>
                    </a:lnTo>
                    <a:close/>
                  </a:path>
                </a:pathLst>
              </a:custGeom>
              <a:grpFill/>
              <a:ln w="127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15" name="Freeform: Shape 291">
                <a:extLst>
                  <a:ext uri="{FF2B5EF4-FFF2-40B4-BE49-F238E27FC236}">
                    <a16:creationId xmlns:a16="http://schemas.microsoft.com/office/drawing/2014/main" id="{2DD27FCC-4687-0B4C-8959-3E514BA0A106}"/>
                  </a:ext>
                </a:extLst>
              </p:cNvPr>
              <p:cNvSpPr/>
              <p:nvPr/>
            </p:nvSpPr>
            <p:spPr>
              <a:xfrm>
                <a:off x="1325578" y="176212"/>
                <a:ext cx="5703518" cy="6505575"/>
              </a:xfrm>
              <a:custGeom>
                <a:avLst/>
                <a:gdLst>
                  <a:gd name="connsiteX0" fmla="*/ 4888730 w 5703517"/>
                  <a:gd name="connsiteY0" fmla="*/ 4943411 h 6505575"/>
                  <a:gd name="connsiteX1" fmla="*/ 4888730 w 5703517"/>
                  <a:gd name="connsiteY1" fmla="*/ 609898 h 6505575"/>
                  <a:gd name="connsiteX2" fmla="*/ 3055456 w 5703517"/>
                  <a:gd name="connsiteY2" fmla="*/ 609898 h 6505575"/>
                  <a:gd name="connsiteX3" fmla="*/ 2444365 w 5703517"/>
                  <a:gd name="connsiteY3" fmla="*/ 0 h 6505575"/>
                  <a:gd name="connsiteX4" fmla="*/ 1833274 w 5703517"/>
                  <a:gd name="connsiteY4" fmla="*/ 609898 h 6505575"/>
                  <a:gd name="connsiteX5" fmla="*/ 0 w 5703517"/>
                  <a:gd name="connsiteY5" fmla="*/ 609898 h 6505575"/>
                  <a:gd name="connsiteX6" fmla="*/ 0 w 5703517"/>
                  <a:gd name="connsiteY6" fmla="*/ 6505575 h 6505575"/>
                  <a:gd name="connsiteX7" fmla="*/ 4888730 w 5703517"/>
                  <a:gd name="connsiteY7" fmla="*/ 6505575 h 6505575"/>
                  <a:gd name="connsiteX8" fmla="*/ 4888730 w 5703517"/>
                  <a:gd name="connsiteY8" fmla="*/ 6380851 h 6505575"/>
                  <a:gd name="connsiteX9" fmla="*/ 4995251 w 5703517"/>
                  <a:gd name="connsiteY9" fmla="*/ 6487164 h 6505575"/>
                  <a:gd name="connsiteX10" fmla="*/ 5715460 w 5703517"/>
                  <a:gd name="connsiteY10" fmla="*/ 5768514 h 6505575"/>
                  <a:gd name="connsiteX11" fmla="*/ 3666547 w 5703517"/>
                  <a:gd name="connsiteY11" fmla="*/ 813197 h 6505575"/>
                  <a:gd name="connsiteX12" fmla="*/ 4685033 w 5703517"/>
                  <a:gd name="connsiteY12" fmla="*/ 813197 h 6505575"/>
                  <a:gd name="connsiteX13" fmla="*/ 4685033 w 5703517"/>
                  <a:gd name="connsiteY13" fmla="*/ 4740112 h 6505575"/>
                  <a:gd name="connsiteX14" fmla="*/ 4481336 w 5703517"/>
                  <a:gd name="connsiteY14" fmla="*/ 4536813 h 6505575"/>
                  <a:gd name="connsiteX15" fmla="*/ 4481336 w 5703517"/>
                  <a:gd name="connsiteY15" fmla="*/ 1016496 h 6505575"/>
                  <a:gd name="connsiteX16" fmla="*/ 3666547 w 5703517"/>
                  <a:gd name="connsiteY16" fmla="*/ 1016496 h 6505575"/>
                  <a:gd name="connsiteX17" fmla="*/ 1833274 w 5703517"/>
                  <a:gd name="connsiteY17" fmla="*/ 813197 h 6505575"/>
                  <a:gd name="connsiteX18" fmla="*/ 2036971 w 5703517"/>
                  <a:gd name="connsiteY18" fmla="*/ 813197 h 6505575"/>
                  <a:gd name="connsiteX19" fmla="*/ 2036971 w 5703517"/>
                  <a:gd name="connsiteY19" fmla="*/ 609898 h 6505575"/>
                  <a:gd name="connsiteX20" fmla="*/ 2444365 w 5703517"/>
                  <a:gd name="connsiteY20" fmla="*/ 203299 h 6505575"/>
                  <a:gd name="connsiteX21" fmla="*/ 2851759 w 5703517"/>
                  <a:gd name="connsiteY21" fmla="*/ 609898 h 6505575"/>
                  <a:gd name="connsiteX22" fmla="*/ 2851759 w 5703517"/>
                  <a:gd name="connsiteY22" fmla="*/ 813197 h 6505575"/>
                  <a:gd name="connsiteX23" fmla="*/ 3055456 w 5703517"/>
                  <a:gd name="connsiteY23" fmla="*/ 813197 h 6505575"/>
                  <a:gd name="connsiteX24" fmla="*/ 3055456 w 5703517"/>
                  <a:gd name="connsiteY24" fmla="*/ 1016496 h 6505575"/>
                  <a:gd name="connsiteX25" fmla="*/ 1833274 w 5703517"/>
                  <a:gd name="connsiteY25" fmla="*/ 1016496 h 6505575"/>
                  <a:gd name="connsiteX26" fmla="*/ 1425880 w 5703517"/>
                  <a:gd name="connsiteY26" fmla="*/ 813197 h 6505575"/>
                  <a:gd name="connsiteX27" fmla="*/ 1629577 w 5703517"/>
                  <a:gd name="connsiteY27" fmla="*/ 813197 h 6505575"/>
                  <a:gd name="connsiteX28" fmla="*/ 1629577 w 5703517"/>
                  <a:gd name="connsiteY28" fmla="*/ 1219795 h 6505575"/>
                  <a:gd name="connsiteX29" fmla="*/ 3259153 w 5703517"/>
                  <a:gd name="connsiteY29" fmla="*/ 1219795 h 6505575"/>
                  <a:gd name="connsiteX30" fmla="*/ 3259153 w 5703517"/>
                  <a:gd name="connsiteY30" fmla="*/ 813197 h 6505575"/>
                  <a:gd name="connsiteX31" fmla="*/ 3462850 w 5703517"/>
                  <a:gd name="connsiteY31" fmla="*/ 813197 h 6505575"/>
                  <a:gd name="connsiteX32" fmla="*/ 3462850 w 5703517"/>
                  <a:gd name="connsiteY32" fmla="*/ 1321445 h 6505575"/>
                  <a:gd name="connsiteX33" fmla="*/ 3361002 w 5703517"/>
                  <a:gd name="connsiteY33" fmla="*/ 1423095 h 6505575"/>
                  <a:gd name="connsiteX34" fmla="*/ 1527728 w 5703517"/>
                  <a:gd name="connsiteY34" fmla="*/ 1423095 h 6505575"/>
                  <a:gd name="connsiteX35" fmla="*/ 1425880 w 5703517"/>
                  <a:gd name="connsiteY35" fmla="*/ 1321445 h 6505575"/>
                  <a:gd name="connsiteX36" fmla="*/ 1527728 w 5703517"/>
                  <a:gd name="connsiteY36" fmla="*/ 1626394 h 6505575"/>
                  <a:gd name="connsiteX37" fmla="*/ 3361002 w 5703517"/>
                  <a:gd name="connsiteY37" fmla="*/ 1626394 h 6505575"/>
                  <a:gd name="connsiteX38" fmla="*/ 3666547 w 5703517"/>
                  <a:gd name="connsiteY38" fmla="*/ 1321445 h 6505575"/>
                  <a:gd name="connsiteX39" fmla="*/ 3666547 w 5703517"/>
                  <a:gd name="connsiteY39" fmla="*/ 1219795 h 6505575"/>
                  <a:gd name="connsiteX40" fmla="*/ 4277639 w 5703517"/>
                  <a:gd name="connsiteY40" fmla="*/ 1219795 h 6505575"/>
                  <a:gd name="connsiteX41" fmla="*/ 4277639 w 5703517"/>
                  <a:gd name="connsiteY41" fmla="*/ 4333514 h 6505575"/>
                  <a:gd name="connsiteX42" fmla="*/ 4131079 w 5703517"/>
                  <a:gd name="connsiteY42" fmla="*/ 4187138 h 6505575"/>
                  <a:gd name="connsiteX43" fmla="*/ 3986963 w 5703517"/>
                  <a:gd name="connsiteY43" fmla="*/ 4330973 h 6505575"/>
                  <a:gd name="connsiteX44" fmla="*/ 3675701 w 5703517"/>
                  <a:gd name="connsiteY44" fmla="*/ 4020318 h 6505575"/>
                  <a:gd name="connsiteX45" fmla="*/ 3368615 w 5703517"/>
                  <a:gd name="connsiteY45" fmla="*/ 2144172 h 6505575"/>
                  <a:gd name="connsiteX46" fmla="*/ 1466606 w 5703517"/>
                  <a:gd name="connsiteY46" fmla="*/ 2246762 h 6505575"/>
                  <a:gd name="connsiteX47" fmla="*/ 1363816 w 5703517"/>
                  <a:gd name="connsiteY47" fmla="*/ 4145004 h 6505575"/>
                  <a:gd name="connsiteX48" fmla="*/ 3243685 w 5703517"/>
                  <a:gd name="connsiteY48" fmla="*/ 4451542 h 6505575"/>
                  <a:gd name="connsiteX49" fmla="*/ 3554501 w 5703517"/>
                  <a:gd name="connsiteY49" fmla="*/ 4762195 h 6505575"/>
                  <a:gd name="connsiteX50" fmla="*/ 3410933 w 5703517"/>
                  <a:gd name="connsiteY50" fmla="*/ 4906030 h 6505575"/>
                  <a:gd name="connsiteX51" fmla="*/ 4277639 w 5703517"/>
                  <a:gd name="connsiteY51" fmla="*/ 5771043 h 6505575"/>
                  <a:gd name="connsiteX52" fmla="*/ 4277639 w 5703517"/>
                  <a:gd name="connsiteY52" fmla="*/ 5895678 h 6505575"/>
                  <a:gd name="connsiteX53" fmla="*/ 611091 w 5703517"/>
                  <a:gd name="connsiteY53" fmla="*/ 5895678 h 6505575"/>
                  <a:gd name="connsiteX54" fmla="*/ 611091 w 5703517"/>
                  <a:gd name="connsiteY54" fmla="*/ 1219795 h 6505575"/>
                  <a:gd name="connsiteX55" fmla="*/ 1222182 w 5703517"/>
                  <a:gd name="connsiteY55" fmla="*/ 1219795 h 6505575"/>
                  <a:gd name="connsiteX56" fmla="*/ 1222182 w 5703517"/>
                  <a:gd name="connsiteY56" fmla="*/ 1321445 h 6505575"/>
                  <a:gd name="connsiteX57" fmla="*/ 1527728 w 5703517"/>
                  <a:gd name="connsiteY57" fmla="*/ 1626394 h 6505575"/>
                  <a:gd name="connsiteX58" fmla="*/ 3842936 w 5703517"/>
                  <a:gd name="connsiteY58" fmla="*/ 4474718 h 6505575"/>
                  <a:gd name="connsiteX59" fmla="*/ 3698922 w 5703517"/>
                  <a:gd name="connsiteY59" fmla="*/ 4618450 h 6505575"/>
                  <a:gd name="connsiteX60" fmla="*/ 3266066 w 5703517"/>
                  <a:gd name="connsiteY60" fmla="*/ 4186439 h 6505575"/>
                  <a:gd name="connsiteX61" fmla="*/ 3195600 w 5703517"/>
                  <a:gd name="connsiteY61" fmla="*/ 4237862 h 6505575"/>
                  <a:gd name="connsiteX62" fmla="*/ 1610429 w 5703517"/>
                  <a:gd name="connsiteY62" fmla="*/ 4115272 h 6505575"/>
                  <a:gd name="connsiteX63" fmla="*/ 1291503 w 5703517"/>
                  <a:gd name="connsiteY63" fmla="*/ 2935781 h 6505575"/>
                  <a:gd name="connsiteX64" fmla="*/ 2157127 w 5703517"/>
                  <a:gd name="connsiteY64" fmla="*/ 2071911 h 6505575"/>
                  <a:gd name="connsiteX65" fmla="*/ 3338926 w 5703517"/>
                  <a:gd name="connsiteY65" fmla="*/ 2390303 h 6505575"/>
                  <a:gd name="connsiteX66" fmla="*/ 3461704 w 5703517"/>
                  <a:gd name="connsiteY66" fmla="*/ 3972378 h 6505575"/>
                  <a:gd name="connsiteX67" fmla="*/ 3410080 w 5703517"/>
                  <a:gd name="connsiteY67" fmla="*/ 4042707 h 6505575"/>
                  <a:gd name="connsiteX68" fmla="*/ 4685033 w 5703517"/>
                  <a:gd name="connsiteY68" fmla="*/ 6302276 h 6505575"/>
                  <a:gd name="connsiteX69" fmla="*/ 203697 w 5703517"/>
                  <a:gd name="connsiteY69" fmla="*/ 6302276 h 6505575"/>
                  <a:gd name="connsiteX70" fmla="*/ 203697 w 5703517"/>
                  <a:gd name="connsiteY70" fmla="*/ 813197 h 6505575"/>
                  <a:gd name="connsiteX71" fmla="*/ 1222182 w 5703517"/>
                  <a:gd name="connsiteY71" fmla="*/ 813197 h 6505575"/>
                  <a:gd name="connsiteX72" fmla="*/ 1222182 w 5703517"/>
                  <a:gd name="connsiteY72" fmla="*/ 1016496 h 6505575"/>
                  <a:gd name="connsiteX73" fmla="*/ 407394 w 5703517"/>
                  <a:gd name="connsiteY73" fmla="*/ 1016496 h 6505575"/>
                  <a:gd name="connsiteX74" fmla="*/ 407394 w 5703517"/>
                  <a:gd name="connsiteY74" fmla="*/ 6098977 h 6505575"/>
                  <a:gd name="connsiteX75" fmla="*/ 4481336 w 5703517"/>
                  <a:gd name="connsiteY75" fmla="*/ 6098977 h 6505575"/>
                  <a:gd name="connsiteX76" fmla="*/ 4481336 w 5703517"/>
                  <a:gd name="connsiteY76" fmla="*/ 5974342 h 6505575"/>
                  <a:gd name="connsiteX77" fmla="*/ 4685033 w 5703517"/>
                  <a:gd name="connsiteY77" fmla="*/ 6177641 h 6505575"/>
                  <a:gd name="connsiteX78" fmla="*/ 3698922 w 5703517"/>
                  <a:gd name="connsiteY78" fmla="*/ 4906030 h 6505575"/>
                  <a:gd name="connsiteX79" fmla="*/ 4131079 w 5703517"/>
                  <a:gd name="connsiteY79" fmla="*/ 4474718 h 6505575"/>
                  <a:gd name="connsiteX80" fmla="*/ 5427419 w 5703517"/>
                  <a:gd name="connsiteY80" fmla="*/ 5768514 h 6505575"/>
                  <a:gd name="connsiteX81" fmla="*/ 4995251 w 5703517"/>
                  <a:gd name="connsiteY81" fmla="*/ 6199737 h 6505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5703517" h="6505575">
                    <a:moveTo>
                      <a:pt x="4888730" y="4943411"/>
                    </a:moveTo>
                    <a:lnTo>
                      <a:pt x="4888730" y="609898"/>
                    </a:lnTo>
                    <a:lnTo>
                      <a:pt x="3055456" y="609898"/>
                    </a:lnTo>
                    <a:cubicBezTo>
                      <a:pt x="3055456" y="273084"/>
                      <a:pt x="2781840" y="0"/>
                      <a:pt x="2444365" y="0"/>
                    </a:cubicBezTo>
                    <a:cubicBezTo>
                      <a:pt x="2106890" y="0"/>
                      <a:pt x="1833274" y="273084"/>
                      <a:pt x="1833274" y="609898"/>
                    </a:cubicBezTo>
                    <a:lnTo>
                      <a:pt x="0" y="609898"/>
                    </a:lnTo>
                    <a:lnTo>
                      <a:pt x="0" y="6505575"/>
                    </a:lnTo>
                    <a:lnTo>
                      <a:pt x="4888730" y="6505575"/>
                    </a:lnTo>
                    <a:lnTo>
                      <a:pt x="4888730" y="6380851"/>
                    </a:lnTo>
                    <a:lnTo>
                      <a:pt x="4995251" y="6487164"/>
                    </a:lnTo>
                    <a:lnTo>
                      <a:pt x="5715460" y="5768514"/>
                    </a:lnTo>
                    <a:close/>
                    <a:moveTo>
                      <a:pt x="3666547" y="813197"/>
                    </a:moveTo>
                    <a:lnTo>
                      <a:pt x="4685033" y="813197"/>
                    </a:lnTo>
                    <a:lnTo>
                      <a:pt x="4685033" y="4740112"/>
                    </a:lnTo>
                    <a:lnTo>
                      <a:pt x="4481336" y="4536813"/>
                    </a:lnTo>
                    <a:lnTo>
                      <a:pt x="4481336" y="1016496"/>
                    </a:lnTo>
                    <a:lnTo>
                      <a:pt x="3666547" y="1016496"/>
                    </a:lnTo>
                    <a:close/>
                    <a:moveTo>
                      <a:pt x="1833274" y="813197"/>
                    </a:moveTo>
                    <a:lnTo>
                      <a:pt x="2036971" y="813197"/>
                    </a:lnTo>
                    <a:lnTo>
                      <a:pt x="2036971" y="609898"/>
                    </a:lnTo>
                    <a:cubicBezTo>
                      <a:pt x="2036971" y="385355"/>
                      <a:pt x="2219382" y="203299"/>
                      <a:pt x="2444365" y="203299"/>
                    </a:cubicBezTo>
                    <a:cubicBezTo>
                      <a:pt x="2669348" y="203299"/>
                      <a:pt x="2851759" y="385355"/>
                      <a:pt x="2851759" y="609898"/>
                    </a:cubicBezTo>
                    <a:lnTo>
                      <a:pt x="2851759" y="813197"/>
                    </a:lnTo>
                    <a:lnTo>
                      <a:pt x="3055456" y="813197"/>
                    </a:lnTo>
                    <a:lnTo>
                      <a:pt x="3055456" y="1016496"/>
                    </a:lnTo>
                    <a:lnTo>
                      <a:pt x="1833274" y="1016496"/>
                    </a:lnTo>
                    <a:close/>
                    <a:moveTo>
                      <a:pt x="1425880" y="813197"/>
                    </a:moveTo>
                    <a:lnTo>
                      <a:pt x="1629577" y="813197"/>
                    </a:lnTo>
                    <a:lnTo>
                      <a:pt x="1629577" y="1219795"/>
                    </a:lnTo>
                    <a:lnTo>
                      <a:pt x="3259153" y="1219795"/>
                    </a:lnTo>
                    <a:lnTo>
                      <a:pt x="3259153" y="813197"/>
                    </a:lnTo>
                    <a:lnTo>
                      <a:pt x="3462850" y="813197"/>
                    </a:lnTo>
                    <a:lnTo>
                      <a:pt x="3462850" y="1321445"/>
                    </a:lnTo>
                    <a:cubicBezTo>
                      <a:pt x="3462850" y="1377581"/>
                      <a:pt x="3417248" y="1423095"/>
                      <a:pt x="3361002" y="1423095"/>
                    </a:cubicBezTo>
                    <a:lnTo>
                      <a:pt x="1527728" y="1423095"/>
                    </a:lnTo>
                    <a:cubicBezTo>
                      <a:pt x="1471482" y="1423095"/>
                      <a:pt x="1425880" y="1377581"/>
                      <a:pt x="1425880" y="1321445"/>
                    </a:cubicBezTo>
                    <a:close/>
                    <a:moveTo>
                      <a:pt x="1527728" y="1626394"/>
                    </a:moveTo>
                    <a:lnTo>
                      <a:pt x="3361002" y="1626394"/>
                    </a:lnTo>
                    <a:cubicBezTo>
                      <a:pt x="3529739" y="1626394"/>
                      <a:pt x="3666547" y="1489853"/>
                      <a:pt x="3666547" y="1321445"/>
                    </a:cubicBezTo>
                    <a:lnTo>
                      <a:pt x="3666547" y="1219795"/>
                    </a:lnTo>
                    <a:lnTo>
                      <a:pt x="4277639" y="1219795"/>
                    </a:lnTo>
                    <a:lnTo>
                      <a:pt x="4277639" y="4333514"/>
                    </a:lnTo>
                    <a:lnTo>
                      <a:pt x="4131079" y="4187138"/>
                    </a:lnTo>
                    <a:lnTo>
                      <a:pt x="3986963" y="4330973"/>
                    </a:lnTo>
                    <a:lnTo>
                      <a:pt x="3675701" y="4020318"/>
                    </a:lnTo>
                    <a:cubicBezTo>
                      <a:pt x="4068276" y="3408388"/>
                      <a:pt x="3935835" y="2599613"/>
                      <a:pt x="3368615" y="2144172"/>
                    </a:cubicBezTo>
                    <a:cubicBezTo>
                      <a:pt x="2801331" y="1688731"/>
                      <a:pt x="1981425" y="1732961"/>
                      <a:pt x="1466606" y="2246762"/>
                    </a:cubicBezTo>
                    <a:cubicBezTo>
                      <a:pt x="951796" y="2760524"/>
                      <a:pt x="907537" y="3578880"/>
                      <a:pt x="1363816" y="4145004"/>
                    </a:cubicBezTo>
                    <a:cubicBezTo>
                      <a:pt x="1820148" y="4711168"/>
                      <a:pt x="2630557" y="4843299"/>
                      <a:pt x="3243685" y="4451542"/>
                    </a:cubicBezTo>
                    <a:lnTo>
                      <a:pt x="3554501" y="4762195"/>
                    </a:lnTo>
                    <a:lnTo>
                      <a:pt x="3410933" y="4906030"/>
                    </a:lnTo>
                    <a:lnTo>
                      <a:pt x="4277639" y="5771043"/>
                    </a:lnTo>
                    <a:lnTo>
                      <a:pt x="4277639" y="5895678"/>
                    </a:lnTo>
                    <a:lnTo>
                      <a:pt x="611091" y="5895678"/>
                    </a:lnTo>
                    <a:lnTo>
                      <a:pt x="611091" y="1219795"/>
                    </a:lnTo>
                    <a:lnTo>
                      <a:pt x="1222182" y="1219795"/>
                    </a:lnTo>
                    <a:lnTo>
                      <a:pt x="1222182" y="1321445"/>
                    </a:lnTo>
                    <a:cubicBezTo>
                      <a:pt x="1222182" y="1489853"/>
                      <a:pt x="1358991" y="1626394"/>
                      <a:pt x="1527728" y="1626394"/>
                    </a:cubicBezTo>
                    <a:close/>
                    <a:moveTo>
                      <a:pt x="3842936" y="4474718"/>
                    </a:moveTo>
                    <a:lnTo>
                      <a:pt x="3698922" y="4618450"/>
                    </a:lnTo>
                    <a:lnTo>
                      <a:pt x="3266066" y="4186439"/>
                    </a:lnTo>
                    <a:lnTo>
                      <a:pt x="3195600" y="4237862"/>
                    </a:lnTo>
                    <a:cubicBezTo>
                      <a:pt x="2708242" y="4589277"/>
                      <a:pt x="2037773" y="4537410"/>
                      <a:pt x="1610429" y="4115272"/>
                    </a:cubicBezTo>
                    <a:cubicBezTo>
                      <a:pt x="1300313" y="3807388"/>
                      <a:pt x="1178668" y="3357563"/>
                      <a:pt x="1291503" y="2935781"/>
                    </a:cubicBezTo>
                    <a:cubicBezTo>
                      <a:pt x="1404351" y="2513948"/>
                      <a:pt x="1734455" y="2184526"/>
                      <a:pt x="2157127" y="2071911"/>
                    </a:cubicBezTo>
                    <a:cubicBezTo>
                      <a:pt x="2579734" y="1959334"/>
                      <a:pt x="3030440" y="2080742"/>
                      <a:pt x="3338926" y="2390303"/>
                    </a:cubicBezTo>
                    <a:cubicBezTo>
                      <a:pt x="3761737" y="2816812"/>
                      <a:pt x="3813655" y="3485921"/>
                      <a:pt x="3461704" y="3972378"/>
                    </a:cubicBezTo>
                    <a:lnTo>
                      <a:pt x="3410080" y="4042707"/>
                    </a:lnTo>
                    <a:close/>
                    <a:moveTo>
                      <a:pt x="4685033" y="6302276"/>
                    </a:moveTo>
                    <a:lnTo>
                      <a:pt x="203697" y="6302276"/>
                    </a:lnTo>
                    <a:lnTo>
                      <a:pt x="203697" y="813197"/>
                    </a:lnTo>
                    <a:lnTo>
                      <a:pt x="1222182" y="813197"/>
                    </a:lnTo>
                    <a:lnTo>
                      <a:pt x="1222182" y="1016496"/>
                    </a:lnTo>
                    <a:lnTo>
                      <a:pt x="407394" y="1016496"/>
                    </a:lnTo>
                    <a:lnTo>
                      <a:pt x="407394" y="6098977"/>
                    </a:lnTo>
                    <a:lnTo>
                      <a:pt x="4481336" y="6098977"/>
                    </a:lnTo>
                    <a:lnTo>
                      <a:pt x="4481336" y="5974342"/>
                    </a:lnTo>
                    <a:lnTo>
                      <a:pt x="4685033" y="6177641"/>
                    </a:lnTo>
                    <a:close/>
                    <a:moveTo>
                      <a:pt x="3698922" y="4906030"/>
                    </a:moveTo>
                    <a:lnTo>
                      <a:pt x="4131079" y="4474718"/>
                    </a:lnTo>
                    <a:lnTo>
                      <a:pt x="5427419" y="5768514"/>
                    </a:lnTo>
                    <a:lnTo>
                      <a:pt x="4995251" y="6199737"/>
                    </a:lnTo>
                    <a:close/>
                  </a:path>
                </a:pathLst>
              </a:custGeom>
              <a:grpFill/>
              <a:ln w="127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16" name="Freeform: Shape 292">
                <a:extLst>
                  <a:ext uri="{FF2B5EF4-FFF2-40B4-BE49-F238E27FC236}">
                    <a16:creationId xmlns:a16="http://schemas.microsoft.com/office/drawing/2014/main" id="{DFBC2E12-2501-8543-B225-5966708F963C}"/>
                  </a:ext>
                </a:extLst>
              </p:cNvPr>
              <p:cNvSpPr/>
              <p:nvPr/>
            </p:nvSpPr>
            <p:spPr>
              <a:xfrm>
                <a:off x="2779363" y="2411575"/>
                <a:ext cx="2036971" cy="2032992"/>
              </a:xfrm>
              <a:custGeom>
                <a:avLst/>
                <a:gdLst>
                  <a:gd name="connsiteX0" fmla="*/ 1741012 w 2036970"/>
                  <a:gd name="connsiteY0" fmla="*/ 298686 h 2032992"/>
                  <a:gd name="connsiteX1" fmla="*/ 453735 w 2036970"/>
                  <a:gd name="connsiteY1" fmla="*/ 171077 h 2032992"/>
                  <a:gd name="connsiteX2" fmla="*/ 77520 w 2036970"/>
                  <a:gd name="connsiteY2" fmla="*/ 1406298 h 2032992"/>
                  <a:gd name="connsiteX3" fmla="*/ 1218147 w 2036970"/>
                  <a:gd name="connsiteY3" fmla="*/ 2015306 h 2032992"/>
                  <a:gd name="connsiteX4" fmla="*/ 2038906 w 2036970"/>
                  <a:gd name="connsiteY4" fmla="*/ 1017425 h 2032992"/>
                  <a:gd name="connsiteX5" fmla="*/ 1741012 w 2036970"/>
                  <a:gd name="connsiteY5" fmla="*/ 298686 h 2032992"/>
                  <a:gd name="connsiteX6" fmla="*/ 1596998 w 2036970"/>
                  <a:gd name="connsiteY6" fmla="*/ 1592482 h 2032992"/>
                  <a:gd name="connsiteX7" fmla="*/ 566825 w 2036970"/>
                  <a:gd name="connsiteY7" fmla="*/ 1694869 h 2032992"/>
                  <a:gd name="connsiteX8" fmla="*/ 265507 w 2036970"/>
                  <a:gd name="connsiteY8" fmla="*/ 706326 h 2032992"/>
                  <a:gd name="connsiteX9" fmla="*/ 1178311 w 2036970"/>
                  <a:gd name="connsiteY9" fmla="*/ 218814 h 2032992"/>
                  <a:gd name="connsiteX10" fmla="*/ 1835209 w 2036970"/>
                  <a:gd name="connsiteY10" fmla="*/ 1017425 h 2032992"/>
                  <a:gd name="connsiteX11" fmla="*/ 1596998 w 2036970"/>
                  <a:gd name="connsiteY11" fmla="*/ 1592482 h 203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36970" h="2032992">
                    <a:moveTo>
                      <a:pt x="1741012" y="298686"/>
                    </a:moveTo>
                    <a:cubicBezTo>
                      <a:pt x="1397375" y="-44928"/>
                      <a:pt x="858392" y="-98332"/>
                      <a:pt x="453735" y="171077"/>
                    </a:cubicBezTo>
                    <a:cubicBezTo>
                      <a:pt x="49129" y="440487"/>
                      <a:pt x="-108418" y="957718"/>
                      <a:pt x="77520" y="1406298"/>
                    </a:cubicBezTo>
                    <a:cubicBezTo>
                      <a:pt x="263470" y="1854891"/>
                      <a:pt x="741025" y="2109904"/>
                      <a:pt x="1218147" y="2015306"/>
                    </a:cubicBezTo>
                    <a:cubicBezTo>
                      <a:pt x="1695218" y="1920709"/>
                      <a:pt x="2038906" y="1502891"/>
                      <a:pt x="2038906" y="1017425"/>
                    </a:cubicBezTo>
                    <a:cubicBezTo>
                      <a:pt x="2038906" y="747913"/>
                      <a:pt x="1931736" y="489419"/>
                      <a:pt x="1741012" y="298686"/>
                    </a:cubicBezTo>
                    <a:close/>
                    <a:moveTo>
                      <a:pt x="1596998" y="1592482"/>
                    </a:moveTo>
                    <a:cubicBezTo>
                      <a:pt x="1322032" y="1867546"/>
                      <a:pt x="890666" y="1910429"/>
                      <a:pt x="566825" y="1694869"/>
                    </a:cubicBezTo>
                    <a:cubicBezTo>
                      <a:pt x="242922" y="1479320"/>
                      <a:pt x="116757" y="1065365"/>
                      <a:pt x="265507" y="706326"/>
                    </a:cubicBezTo>
                    <a:cubicBezTo>
                      <a:pt x="414244" y="347274"/>
                      <a:pt x="796481" y="143124"/>
                      <a:pt x="1178311" y="218814"/>
                    </a:cubicBezTo>
                    <a:cubicBezTo>
                      <a:pt x="1560142" y="294505"/>
                      <a:pt x="1835209" y="628894"/>
                      <a:pt x="1835209" y="1017425"/>
                    </a:cubicBezTo>
                    <a:cubicBezTo>
                      <a:pt x="1835209" y="1233036"/>
                      <a:pt x="1749567" y="1439804"/>
                      <a:pt x="1596998" y="1592482"/>
                    </a:cubicBezTo>
                    <a:close/>
                  </a:path>
                </a:pathLst>
              </a:custGeom>
              <a:grpFill/>
              <a:ln w="127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  <p:grpSp>
          <p:nvGrpSpPr>
            <p:cNvPr id="217" name="Graphic 26">
              <a:extLst>
                <a:ext uri="{FF2B5EF4-FFF2-40B4-BE49-F238E27FC236}">
                  <a16:creationId xmlns:a16="http://schemas.microsoft.com/office/drawing/2014/main" id="{86BD4049-29D6-1345-A98E-B07EC8DA46C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889461" y="4465946"/>
              <a:ext cx="649583" cy="649583"/>
              <a:chOff x="1423987" y="280987"/>
              <a:chExt cx="6296025" cy="6296025"/>
            </a:xfrm>
            <a:solidFill>
              <a:schemeClr val="bg1"/>
            </a:solidFill>
          </p:grpSpPr>
          <p:sp>
            <p:nvSpPr>
              <p:cNvPr id="218" name="Freeform: Shape 103">
                <a:extLst>
                  <a:ext uri="{FF2B5EF4-FFF2-40B4-BE49-F238E27FC236}">
                    <a16:creationId xmlns:a16="http://schemas.microsoft.com/office/drawing/2014/main" id="{240096CA-0276-AC43-9AC2-45FBD8E89B22}"/>
                  </a:ext>
                </a:extLst>
              </p:cNvPr>
              <p:cNvSpPr/>
              <p:nvPr/>
            </p:nvSpPr>
            <p:spPr>
              <a:xfrm>
                <a:off x="1423987" y="280987"/>
                <a:ext cx="6296025" cy="6296025"/>
              </a:xfrm>
              <a:custGeom>
                <a:avLst/>
                <a:gdLst>
                  <a:gd name="connsiteX0" fmla="*/ 6092928 w 6296025"/>
                  <a:gd name="connsiteY0" fmla="*/ 1015488 h 6296025"/>
                  <a:gd name="connsiteX1" fmla="*/ 5483635 w 6296025"/>
                  <a:gd name="connsiteY1" fmla="*/ 1015488 h 6296025"/>
                  <a:gd name="connsiteX2" fmla="*/ 5483635 w 6296025"/>
                  <a:gd name="connsiteY2" fmla="*/ 507744 h 6296025"/>
                  <a:gd name="connsiteX3" fmla="*/ 4975891 w 6296025"/>
                  <a:gd name="connsiteY3" fmla="*/ 0 h 6296025"/>
                  <a:gd name="connsiteX4" fmla="*/ 4468147 w 6296025"/>
                  <a:gd name="connsiteY4" fmla="*/ 507744 h 6296025"/>
                  <a:gd name="connsiteX5" fmla="*/ 4468147 w 6296025"/>
                  <a:gd name="connsiteY5" fmla="*/ 1015488 h 6296025"/>
                  <a:gd name="connsiteX6" fmla="*/ 203098 w 6296025"/>
                  <a:gd name="connsiteY6" fmla="*/ 1015488 h 6296025"/>
                  <a:gd name="connsiteX7" fmla="*/ 0 w 6296025"/>
                  <a:gd name="connsiteY7" fmla="*/ 1218586 h 6296025"/>
                  <a:gd name="connsiteX8" fmla="*/ 0 w 6296025"/>
                  <a:gd name="connsiteY8" fmla="*/ 1421683 h 6296025"/>
                  <a:gd name="connsiteX9" fmla="*/ 203098 w 6296025"/>
                  <a:gd name="connsiteY9" fmla="*/ 1624781 h 6296025"/>
                  <a:gd name="connsiteX10" fmla="*/ 203098 w 6296025"/>
                  <a:gd name="connsiteY10" fmla="*/ 4874342 h 6296025"/>
                  <a:gd name="connsiteX11" fmla="*/ 2741817 w 6296025"/>
                  <a:gd name="connsiteY11" fmla="*/ 4874342 h 6296025"/>
                  <a:gd name="connsiteX12" fmla="*/ 2741817 w 6296025"/>
                  <a:gd name="connsiteY12" fmla="*/ 5509619 h 6296025"/>
                  <a:gd name="connsiteX13" fmla="*/ 1726329 w 6296025"/>
                  <a:gd name="connsiteY13" fmla="*/ 5814265 h 6296025"/>
                  <a:gd name="connsiteX14" fmla="*/ 1726329 w 6296025"/>
                  <a:gd name="connsiteY14" fmla="*/ 6296025 h 6296025"/>
                  <a:gd name="connsiteX15" fmla="*/ 4569696 w 6296025"/>
                  <a:gd name="connsiteY15" fmla="*/ 6296025 h 6296025"/>
                  <a:gd name="connsiteX16" fmla="*/ 4569696 w 6296025"/>
                  <a:gd name="connsiteY16" fmla="*/ 5814265 h 6296025"/>
                  <a:gd name="connsiteX17" fmla="*/ 3554208 w 6296025"/>
                  <a:gd name="connsiteY17" fmla="*/ 5509619 h 6296025"/>
                  <a:gd name="connsiteX18" fmla="*/ 3554208 w 6296025"/>
                  <a:gd name="connsiteY18" fmla="*/ 4874342 h 6296025"/>
                  <a:gd name="connsiteX19" fmla="*/ 6092928 w 6296025"/>
                  <a:gd name="connsiteY19" fmla="*/ 4874342 h 6296025"/>
                  <a:gd name="connsiteX20" fmla="*/ 6092928 w 6296025"/>
                  <a:gd name="connsiteY20" fmla="*/ 1624781 h 6296025"/>
                  <a:gd name="connsiteX21" fmla="*/ 6296025 w 6296025"/>
                  <a:gd name="connsiteY21" fmla="*/ 1421683 h 6296025"/>
                  <a:gd name="connsiteX22" fmla="*/ 6296025 w 6296025"/>
                  <a:gd name="connsiteY22" fmla="*/ 1218586 h 6296025"/>
                  <a:gd name="connsiteX23" fmla="*/ 6092928 w 6296025"/>
                  <a:gd name="connsiteY23" fmla="*/ 1015488 h 6296025"/>
                  <a:gd name="connsiteX24" fmla="*/ 5217767 w 6296025"/>
                  <a:gd name="connsiteY24" fmla="*/ 2843366 h 6296025"/>
                  <a:gd name="connsiteX25" fmla="*/ 4975891 w 6296025"/>
                  <a:gd name="connsiteY25" fmla="*/ 3327157 h 6296025"/>
                  <a:gd name="connsiteX26" fmla="*/ 4734015 w 6296025"/>
                  <a:gd name="connsiteY26" fmla="*/ 2843366 h 6296025"/>
                  <a:gd name="connsiteX27" fmla="*/ 4975891 w 6296025"/>
                  <a:gd name="connsiteY27" fmla="*/ 203098 h 6296025"/>
                  <a:gd name="connsiteX28" fmla="*/ 5280537 w 6296025"/>
                  <a:gd name="connsiteY28" fmla="*/ 507744 h 6296025"/>
                  <a:gd name="connsiteX29" fmla="*/ 5280537 w 6296025"/>
                  <a:gd name="connsiteY29" fmla="*/ 812390 h 6296025"/>
                  <a:gd name="connsiteX30" fmla="*/ 4671245 w 6296025"/>
                  <a:gd name="connsiteY30" fmla="*/ 812390 h 6296025"/>
                  <a:gd name="connsiteX31" fmla="*/ 4671245 w 6296025"/>
                  <a:gd name="connsiteY31" fmla="*/ 507744 h 6296025"/>
                  <a:gd name="connsiteX32" fmla="*/ 4975891 w 6296025"/>
                  <a:gd name="connsiteY32" fmla="*/ 203098 h 6296025"/>
                  <a:gd name="connsiteX33" fmla="*/ 203098 w 6296025"/>
                  <a:gd name="connsiteY33" fmla="*/ 1218586 h 6296025"/>
                  <a:gd name="connsiteX34" fmla="*/ 4671245 w 6296025"/>
                  <a:gd name="connsiteY34" fmla="*/ 1218586 h 6296025"/>
                  <a:gd name="connsiteX35" fmla="*/ 4671245 w 6296025"/>
                  <a:gd name="connsiteY35" fmla="*/ 1015488 h 6296025"/>
                  <a:gd name="connsiteX36" fmla="*/ 4874342 w 6296025"/>
                  <a:gd name="connsiteY36" fmla="*/ 1015488 h 6296025"/>
                  <a:gd name="connsiteX37" fmla="*/ 4874342 w 6296025"/>
                  <a:gd name="connsiteY37" fmla="*/ 2234074 h 6296025"/>
                  <a:gd name="connsiteX38" fmla="*/ 5077440 w 6296025"/>
                  <a:gd name="connsiteY38" fmla="*/ 2234074 h 6296025"/>
                  <a:gd name="connsiteX39" fmla="*/ 5077440 w 6296025"/>
                  <a:gd name="connsiteY39" fmla="*/ 1015488 h 6296025"/>
                  <a:gd name="connsiteX40" fmla="*/ 5280537 w 6296025"/>
                  <a:gd name="connsiteY40" fmla="*/ 1015488 h 6296025"/>
                  <a:gd name="connsiteX41" fmla="*/ 5280537 w 6296025"/>
                  <a:gd name="connsiteY41" fmla="*/ 2640269 h 6296025"/>
                  <a:gd name="connsiteX42" fmla="*/ 5077440 w 6296025"/>
                  <a:gd name="connsiteY42" fmla="*/ 2640269 h 6296025"/>
                  <a:gd name="connsiteX43" fmla="*/ 5077440 w 6296025"/>
                  <a:gd name="connsiteY43" fmla="*/ 2437171 h 6296025"/>
                  <a:gd name="connsiteX44" fmla="*/ 4874342 w 6296025"/>
                  <a:gd name="connsiteY44" fmla="*/ 2437171 h 6296025"/>
                  <a:gd name="connsiteX45" fmla="*/ 4874342 w 6296025"/>
                  <a:gd name="connsiteY45" fmla="*/ 2640269 h 6296025"/>
                  <a:gd name="connsiteX46" fmla="*/ 4671245 w 6296025"/>
                  <a:gd name="connsiteY46" fmla="*/ 2640269 h 6296025"/>
                  <a:gd name="connsiteX47" fmla="*/ 4671245 w 6296025"/>
                  <a:gd name="connsiteY47" fmla="*/ 1421683 h 6296025"/>
                  <a:gd name="connsiteX48" fmla="*/ 203098 w 6296025"/>
                  <a:gd name="connsiteY48" fmla="*/ 1421683 h 6296025"/>
                  <a:gd name="connsiteX49" fmla="*/ 4366598 w 6296025"/>
                  <a:gd name="connsiteY49" fmla="*/ 5965395 h 6296025"/>
                  <a:gd name="connsiteX50" fmla="*/ 4366598 w 6296025"/>
                  <a:gd name="connsiteY50" fmla="*/ 6092928 h 6296025"/>
                  <a:gd name="connsiteX51" fmla="*/ 1929427 w 6296025"/>
                  <a:gd name="connsiteY51" fmla="*/ 6092928 h 6296025"/>
                  <a:gd name="connsiteX52" fmla="*/ 1929427 w 6296025"/>
                  <a:gd name="connsiteY52" fmla="*/ 5965395 h 6296025"/>
                  <a:gd name="connsiteX53" fmla="*/ 2741817 w 6296025"/>
                  <a:gd name="connsiteY53" fmla="*/ 5721691 h 6296025"/>
                  <a:gd name="connsiteX54" fmla="*/ 2741817 w 6296025"/>
                  <a:gd name="connsiteY54" fmla="*/ 5889830 h 6296025"/>
                  <a:gd name="connsiteX55" fmla="*/ 3554208 w 6296025"/>
                  <a:gd name="connsiteY55" fmla="*/ 5889830 h 6296025"/>
                  <a:gd name="connsiteX56" fmla="*/ 3554208 w 6296025"/>
                  <a:gd name="connsiteY56" fmla="*/ 5721691 h 6296025"/>
                  <a:gd name="connsiteX57" fmla="*/ 3351110 w 6296025"/>
                  <a:gd name="connsiteY57" fmla="*/ 5686733 h 6296025"/>
                  <a:gd name="connsiteX58" fmla="*/ 2944915 w 6296025"/>
                  <a:gd name="connsiteY58" fmla="*/ 5686733 h 6296025"/>
                  <a:gd name="connsiteX59" fmla="*/ 2944915 w 6296025"/>
                  <a:gd name="connsiteY59" fmla="*/ 4874342 h 6296025"/>
                  <a:gd name="connsiteX60" fmla="*/ 3351110 w 6296025"/>
                  <a:gd name="connsiteY60" fmla="*/ 4874342 h 6296025"/>
                  <a:gd name="connsiteX61" fmla="*/ 5889830 w 6296025"/>
                  <a:gd name="connsiteY61" fmla="*/ 4671245 h 6296025"/>
                  <a:gd name="connsiteX62" fmla="*/ 406195 w 6296025"/>
                  <a:gd name="connsiteY62" fmla="*/ 4671245 h 6296025"/>
                  <a:gd name="connsiteX63" fmla="*/ 406195 w 6296025"/>
                  <a:gd name="connsiteY63" fmla="*/ 1624781 h 6296025"/>
                  <a:gd name="connsiteX64" fmla="*/ 4468147 w 6296025"/>
                  <a:gd name="connsiteY64" fmla="*/ 1624781 h 6296025"/>
                  <a:gd name="connsiteX65" fmla="*/ 4468147 w 6296025"/>
                  <a:gd name="connsiteY65" fmla="*/ 2765770 h 6296025"/>
                  <a:gd name="connsiteX66" fmla="*/ 4975891 w 6296025"/>
                  <a:gd name="connsiteY66" fmla="*/ 3781258 h 6296025"/>
                  <a:gd name="connsiteX67" fmla="*/ 5483635 w 6296025"/>
                  <a:gd name="connsiteY67" fmla="*/ 2765770 h 6296025"/>
                  <a:gd name="connsiteX68" fmla="*/ 5483635 w 6296025"/>
                  <a:gd name="connsiteY68" fmla="*/ 1624781 h 6296025"/>
                  <a:gd name="connsiteX69" fmla="*/ 5889830 w 6296025"/>
                  <a:gd name="connsiteY69" fmla="*/ 1624781 h 6296025"/>
                  <a:gd name="connsiteX70" fmla="*/ 6092928 w 6296025"/>
                  <a:gd name="connsiteY70" fmla="*/ 1421683 h 6296025"/>
                  <a:gd name="connsiteX71" fmla="*/ 5483635 w 6296025"/>
                  <a:gd name="connsiteY71" fmla="*/ 1421683 h 6296025"/>
                  <a:gd name="connsiteX72" fmla="*/ 5483635 w 6296025"/>
                  <a:gd name="connsiteY72" fmla="*/ 1218586 h 6296025"/>
                  <a:gd name="connsiteX73" fmla="*/ 6092928 w 6296025"/>
                  <a:gd name="connsiteY73" fmla="*/ 1218586 h 6296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6296025" h="6296025">
                    <a:moveTo>
                      <a:pt x="6092928" y="1015488"/>
                    </a:moveTo>
                    <a:lnTo>
                      <a:pt x="5483635" y="1015488"/>
                    </a:lnTo>
                    <a:lnTo>
                      <a:pt x="5483635" y="507744"/>
                    </a:lnTo>
                    <a:cubicBezTo>
                      <a:pt x="5483635" y="227790"/>
                      <a:pt x="5255848" y="0"/>
                      <a:pt x="4975891" y="0"/>
                    </a:cubicBezTo>
                    <a:cubicBezTo>
                      <a:pt x="4695934" y="0"/>
                      <a:pt x="4468147" y="227790"/>
                      <a:pt x="4468147" y="507744"/>
                    </a:cubicBezTo>
                    <a:lnTo>
                      <a:pt x="4468147" y="1015488"/>
                    </a:lnTo>
                    <a:lnTo>
                      <a:pt x="203098" y="1015488"/>
                    </a:lnTo>
                    <a:cubicBezTo>
                      <a:pt x="91086" y="1015488"/>
                      <a:pt x="0" y="1106575"/>
                      <a:pt x="0" y="1218586"/>
                    </a:cubicBezTo>
                    <a:lnTo>
                      <a:pt x="0" y="1421683"/>
                    </a:lnTo>
                    <a:cubicBezTo>
                      <a:pt x="0" y="1533691"/>
                      <a:pt x="91086" y="1624781"/>
                      <a:pt x="203098" y="1624781"/>
                    </a:cubicBezTo>
                    <a:lnTo>
                      <a:pt x="203098" y="4874342"/>
                    </a:lnTo>
                    <a:lnTo>
                      <a:pt x="2741817" y="4874342"/>
                    </a:lnTo>
                    <a:lnTo>
                      <a:pt x="2741817" y="5509619"/>
                    </a:lnTo>
                    <a:lnTo>
                      <a:pt x="1726329" y="5814265"/>
                    </a:lnTo>
                    <a:lnTo>
                      <a:pt x="1726329" y="6296025"/>
                    </a:lnTo>
                    <a:lnTo>
                      <a:pt x="4569696" y="6296025"/>
                    </a:lnTo>
                    <a:lnTo>
                      <a:pt x="4569696" y="5814265"/>
                    </a:lnTo>
                    <a:lnTo>
                      <a:pt x="3554208" y="5509619"/>
                    </a:lnTo>
                    <a:lnTo>
                      <a:pt x="3554208" y="4874342"/>
                    </a:lnTo>
                    <a:lnTo>
                      <a:pt x="6092928" y="4874342"/>
                    </a:lnTo>
                    <a:lnTo>
                      <a:pt x="6092928" y="1624781"/>
                    </a:lnTo>
                    <a:cubicBezTo>
                      <a:pt x="6204936" y="1624781"/>
                      <a:pt x="6296025" y="1533691"/>
                      <a:pt x="6296025" y="1421683"/>
                    </a:cubicBezTo>
                    <a:lnTo>
                      <a:pt x="6296025" y="1218586"/>
                    </a:lnTo>
                    <a:cubicBezTo>
                      <a:pt x="6296025" y="1106575"/>
                      <a:pt x="6204936" y="1015488"/>
                      <a:pt x="6092928" y="1015488"/>
                    </a:cubicBezTo>
                    <a:close/>
                    <a:moveTo>
                      <a:pt x="5217767" y="2843366"/>
                    </a:moveTo>
                    <a:lnTo>
                      <a:pt x="4975891" y="3327157"/>
                    </a:lnTo>
                    <a:lnTo>
                      <a:pt x="4734015" y="2843366"/>
                    </a:lnTo>
                    <a:close/>
                    <a:moveTo>
                      <a:pt x="4975891" y="203098"/>
                    </a:moveTo>
                    <a:cubicBezTo>
                      <a:pt x="5143827" y="203098"/>
                      <a:pt x="5280537" y="339801"/>
                      <a:pt x="5280537" y="507744"/>
                    </a:cubicBezTo>
                    <a:lnTo>
                      <a:pt x="5280537" y="812390"/>
                    </a:lnTo>
                    <a:lnTo>
                      <a:pt x="4671245" y="812390"/>
                    </a:lnTo>
                    <a:lnTo>
                      <a:pt x="4671245" y="507744"/>
                    </a:lnTo>
                    <a:cubicBezTo>
                      <a:pt x="4671245" y="339801"/>
                      <a:pt x="4807955" y="203098"/>
                      <a:pt x="4975891" y="203098"/>
                    </a:cubicBezTo>
                    <a:close/>
                    <a:moveTo>
                      <a:pt x="203098" y="1218586"/>
                    </a:moveTo>
                    <a:lnTo>
                      <a:pt x="4671245" y="1218586"/>
                    </a:lnTo>
                    <a:lnTo>
                      <a:pt x="4671245" y="1015488"/>
                    </a:lnTo>
                    <a:lnTo>
                      <a:pt x="4874342" y="1015488"/>
                    </a:lnTo>
                    <a:lnTo>
                      <a:pt x="4874342" y="2234074"/>
                    </a:lnTo>
                    <a:lnTo>
                      <a:pt x="5077440" y="2234074"/>
                    </a:lnTo>
                    <a:lnTo>
                      <a:pt x="5077440" y="1015488"/>
                    </a:lnTo>
                    <a:lnTo>
                      <a:pt x="5280537" y="1015488"/>
                    </a:lnTo>
                    <a:lnTo>
                      <a:pt x="5280537" y="2640269"/>
                    </a:lnTo>
                    <a:lnTo>
                      <a:pt x="5077440" y="2640269"/>
                    </a:lnTo>
                    <a:lnTo>
                      <a:pt x="5077440" y="2437171"/>
                    </a:lnTo>
                    <a:lnTo>
                      <a:pt x="4874342" y="2437171"/>
                    </a:lnTo>
                    <a:lnTo>
                      <a:pt x="4874342" y="2640269"/>
                    </a:lnTo>
                    <a:lnTo>
                      <a:pt x="4671245" y="2640269"/>
                    </a:lnTo>
                    <a:lnTo>
                      <a:pt x="4671245" y="1421683"/>
                    </a:lnTo>
                    <a:lnTo>
                      <a:pt x="203098" y="1421683"/>
                    </a:lnTo>
                    <a:close/>
                    <a:moveTo>
                      <a:pt x="4366598" y="5965395"/>
                    </a:moveTo>
                    <a:lnTo>
                      <a:pt x="4366598" y="6092928"/>
                    </a:lnTo>
                    <a:lnTo>
                      <a:pt x="1929427" y="6092928"/>
                    </a:lnTo>
                    <a:lnTo>
                      <a:pt x="1929427" y="5965395"/>
                    </a:lnTo>
                    <a:lnTo>
                      <a:pt x="2741817" y="5721691"/>
                    </a:lnTo>
                    <a:lnTo>
                      <a:pt x="2741817" y="5889830"/>
                    </a:lnTo>
                    <a:lnTo>
                      <a:pt x="3554208" y="5889830"/>
                    </a:lnTo>
                    <a:lnTo>
                      <a:pt x="3554208" y="5721691"/>
                    </a:lnTo>
                    <a:close/>
                    <a:moveTo>
                      <a:pt x="3351110" y="5686733"/>
                    </a:moveTo>
                    <a:lnTo>
                      <a:pt x="2944915" y="5686733"/>
                    </a:lnTo>
                    <a:lnTo>
                      <a:pt x="2944915" y="4874342"/>
                    </a:lnTo>
                    <a:lnTo>
                      <a:pt x="3351110" y="4874342"/>
                    </a:lnTo>
                    <a:close/>
                    <a:moveTo>
                      <a:pt x="5889830" y="4671245"/>
                    </a:moveTo>
                    <a:lnTo>
                      <a:pt x="406195" y="4671245"/>
                    </a:lnTo>
                    <a:lnTo>
                      <a:pt x="406195" y="1624781"/>
                    </a:lnTo>
                    <a:lnTo>
                      <a:pt x="4468147" y="1624781"/>
                    </a:lnTo>
                    <a:lnTo>
                      <a:pt x="4468147" y="2765770"/>
                    </a:lnTo>
                    <a:lnTo>
                      <a:pt x="4975891" y="3781258"/>
                    </a:lnTo>
                    <a:lnTo>
                      <a:pt x="5483635" y="2765770"/>
                    </a:lnTo>
                    <a:lnTo>
                      <a:pt x="5483635" y="1624781"/>
                    </a:lnTo>
                    <a:lnTo>
                      <a:pt x="5889830" y="1624781"/>
                    </a:lnTo>
                    <a:close/>
                    <a:moveTo>
                      <a:pt x="6092928" y="1421683"/>
                    </a:moveTo>
                    <a:lnTo>
                      <a:pt x="5483635" y="1421683"/>
                    </a:lnTo>
                    <a:lnTo>
                      <a:pt x="5483635" y="1218586"/>
                    </a:lnTo>
                    <a:lnTo>
                      <a:pt x="6092928" y="1218586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19" name="Freeform: Shape 104">
                <a:extLst>
                  <a:ext uri="{FF2B5EF4-FFF2-40B4-BE49-F238E27FC236}">
                    <a16:creationId xmlns:a16="http://schemas.microsoft.com/office/drawing/2014/main" id="{EC676EE9-0D91-9A4C-A721-D5407F08218E}"/>
                  </a:ext>
                </a:extLst>
              </p:cNvPr>
              <p:cNvSpPr/>
              <p:nvPr/>
            </p:nvSpPr>
            <p:spPr>
              <a:xfrm>
                <a:off x="2021280" y="2108865"/>
                <a:ext cx="2754511" cy="2640269"/>
              </a:xfrm>
              <a:custGeom>
                <a:avLst/>
                <a:gdLst>
                  <a:gd name="connsiteX0" fmla="*/ 2765812 w 2754510"/>
                  <a:gd name="connsiteY0" fmla="*/ 1320134 h 2640268"/>
                  <a:gd name="connsiteX1" fmla="*/ 2410392 w 2754510"/>
                  <a:gd name="connsiteY1" fmla="*/ 609293 h 2640268"/>
                  <a:gd name="connsiteX2" fmla="*/ 1598001 w 2754510"/>
                  <a:gd name="connsiteY2" fmla="*/ 609293 h 2640268"/>
                  <a:gd name="connsiteX3" fmla="*/ 1293355 w 2754510"/>
                  <a:gd name="connsiteY3" fmla="*/ 0 h 2640268"/>
                  <a:gd name="connsiteX4" fmla="*/ 355421 w 2754510"/>
                  <a:gd name="connsiteY4" fmla="*/ 0 h 2640268"/>
                  <a:gd name="connsiteX5" fmla="*/ 0 w 2754510"/>
                  <a:gd name="connsiteY5" fmla="*/ 710842 h 2640268"/>
                  <a:gd name="connsiteX6" fmla="*/ 304646 w 2754510"/>
                  <a:gd name="connsiteY6" fmla="*/ 1320134 h 2640268"/>
                  <a:gd name="connsiteX7" fmla="*/ 0 w 2754510"/>
                  <a:gd name="connsiteY7" fmla="*/ 1929427 h 2640268"/>
                  <a:gd name="connsiteX8" fmla="*/ 355421 w 2754510"/>
                  <a:gd name="connsiteY8" fmla="*/ 2640269 h 2640268"/>
                  <a:gd name="connsiteX9" fmla="*/ 1293355 w 2754510"/>
                  <a:gd name="connsiteY9" fmla="*/ 2640269 h 2640268"/>
                  <a:gd name="connsiteX10" fmla="*/ 1598001 w 2754510"/>
                  <a:gd name="connsiteY10" fmla="*/ 2030976 h 2640268"/>
                  <a:gd name="connsiteX11" fmla="*/ 2410392 w 2754510"/>
                  <a:gd name="connsiteY11" fmla="*/ 2030976 h 2640268"/>
                  <a:gd name="connsiteX12" fmla="*/ 480968 w 2754510"/>
                  <a:gd name="connsiteY12" fmla="*/ 203098 h 2640268"/>
                  <a:gd name="connsiteX13" fmla="*/ 1167815 w 2754510"/>
                  <a:gd name="connsiteY13" fmla="*/ 203098 h 2640268"/>
                  <a:gd name="connsiteX14" fmla="*/ 1421687 w 2754510"/>
                  <a:gd name="connsiteY14" fmla="*/ 710842 h 2640268"/>
                  <a:gd name="connsiteX15" fmla="*/ 1167815 w 2754510"/>
                  <a:gd name="connsiteY15" fmla="*/ 1218586 h 2640268"/>
                  <a:gd name="connsiteX16" fmla="*/ 480968 w 2754510"/>
                  <a:gd name="connsiteY16" fmla="*/ 1218586 h 2640268"/>
                  <a:gd name="connsiteX17" fmla="*/ 227096 w 2754510"/>
                  <a:gd name="connsiteY17" fmla="*/ 710842 h 2640268"/>
                  <a:gd name="connsiteX18" fmla="*/ 1167815 w 2754510"/>
                  <a:gd name="connsiteY18" fmla="*/ 2437171 h 2640268"/>
                  <a:gd name="connsiteX19" fmla="*/ 480968 w 2754510"/>
                  <a:gd name="connsiteY19" fmla="*/ 2437171 h 2640268"/>
                  <a:gd name="connsiteX20" fmla="*/ 227096 w 2754510"/>
                  <a:gd name="connsiteY20" fmla="*/ 1929427 h 2640268"/>
                  <a:gd name="connsiteX21" fmla="*/ 480968 w 2754510"/>
                  <a:gd name="connsiteY21" fmla="*/ 1421683 h 2640268"/>
                  <a:gd name="connsiteX22" fmla="*/ 1167815 w 2754510"/>
                  <a:gd name="connsiteY22" fmla="*/ 1421683 h 2640268"/>
                  <a:gd name="connsiteX23" fmla="*/ 1421687 w 2754510"/>
                  <a:gd name="connsiteY23" fmla="*/ 1929427 h 2640268"/>
                  <a:gd name="connsiteX24" fmla="*/ 1598001 w 2754510"/>
                  <a:gd name="connsiteY24" fmla="*/ 1827878 h 2640268"/>
                  <a:gd name="connsiteX25" fmla="*/ 1344129 w 2754510"/>
                  <a:gd name="connsiteY25" fmla="*/ 1320134 h 2640268"/>
                  <a:gd name="connsiteX26" fmla="*/ 1598001 w 2754510"/>
                  <a:gd name="connsiteY26" fmla="*/ 812390 h 2640268"/>
                  <a:gd name="connsiteX27" fmla="*/ 2284852 w 2754510"/>
                  <a:gd name="connsiteY27" fmla="*/ 812390 h 2640268"/>
                  <a:gd name="connsiteX28" fmla="*/ 2538724 w 2754510"/>
                  <a:gd name="connsiteY28" fmla="*/ 1320134 h 2640268"/>
                  <a:gd name="connsiteX29" fmla="*/ 2284852 w 2754510"/>
                  <a:gd name="connsiteY29" fmla="*/ 1827878 h 2640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754510" h="2640268">
                    <a:moveTo>
                      <a:pt x="2765812" y="1320134"/>
                    </a:moveTo>
                    <a:lnTo>
                      <a:pt x="2410392" y="609293"/>
                    </a:lnTo>
                    <a:lnTo>
                      <a:pt x="1598001" y="609293"/>
                    </a:lnTo>
                    <a:lnTo>
                      <a:pt x="1293355" y="0"/>
                    </a:lnTo>
                    <a:lnTo>
                      <a:pt x="355421" y="0"/>
                    </a:lnTo>
                    <a:lnTo>
                      <a:pt x="0" y="710842"/>
                    </a:lnTo>
                    <a:lnTo>
                      <a:pt x="304646" y="1320134"/>
                    </a:lnTo>
                    <a:lnTo>
                      <a:pt x="0" y="1929427"/>
                    </a:lnTo>
                    <a:lnTo>
                      <a:pt x="355421" y="2640269"/>
                    </a:lnTo>
                    <a:lnTo>
                      <a:pt x="1293355" y="2640269"/>
                    </a:lnTo>
                    <a:lnTo>
                      <a:pt x="1598001" y="2030976"/>
                    </a:lnTo>
                    <a:lnTo>
                      <a:pt x="2410392" y="2030976"/>
                    </a:lnTo>
                    <a:close/>
                    <a:moveTo>
                      <a:pt x="480968" y="203098"/>
                    </a:moveTo>
                    <a:lnTo>
                      <a:pt x="1167815" y="203098"/>
                    </a:lnTo>
                    <a:lnTo>
                      <a:pt x="1421687" y="710842"/>
                    </a:lnTo>
                    <a:lnTo>
                      <a:pt x="1167815" y="1218586"/>
                    </a:lnTo>
                    <a:lnTo>
                      <a:pt x="480968" y="1218586"/>
                    </a:lnTo>
                    <a:lnTo>
                      <a:pt x="227096" y="710842"/>
                    </a:lnTo>
                    <a:close/>
                    <a:moveTo>
                      <a:pt x="1167815" y="2437171"/>
                    </a:moveTo>
                    <a:lnTo>
                      <a:pt x="480968" y="2437171"/>
                    </a:lnTo>
                    <a:lnTo>
                      <a:pt x="227096" y="1929427"/>
                    </a:lnTo>
                    <a:lnTo>
                      <a:pt x="480968" y="1421683"/>
                    </a:lnTo>
                    <a:lnTo>
                      <a:pt x="1167815" y="1421683"/>
                    </a:lnTo>
                    <a:lnTo>
                      <a:pt x="1421687" y="1929427"/>
                    </a:lnTo>
                    <a:close/>
                    <a:moveTo>
                      <a:pt x="1598001" y="1827878"/>
                    </a:moveTo>
                    <a:lnTo>
                      <a:pt x="1344129" y="1320134"/>
                    </a:lnTo>
                    <a:lnTo>
                      <a:pt x="1598001" y="812390"/>
                    </a:lnTo>
                    <a:lnTo>
                      <a:pt x="2284852" y="812390"/>
                    </a:lnTo>
                    <a:lnTo>
                      <a:pt x="2538724" y="1320134"/>
                    </a:lnTo>
                    <a:lnTo>
                      <a:pt x="2284852" y="182787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20" name="Freeform: Shape 105">
                <a:extLst>
                  <a:ext uri="{FF2B5EF4-FFF2-40B4-BE49-F238E27FC236}">
                    <a16:creationId xmlns:a16="http://schemas.microsoft.com/office/drawing/2014/main" id="{AF5D7630-EF6E-2342-AD6F-005DA2BD7024}"/>
                  </a:ext>
                </a:extLst>
              </p:cNvPr>
              <p:cNvSpPr/>
              <p:nvPr/>
            </p:nvSpPr>
            <p:spPr>
              <a:xfrm>
                <a:off x="4690608" y="3835195"/>
                <a:ext cx="2411784" cy="913939"/>
              </a:xfrm>
              <a:custGeom>
                <a:avLst/>
                <a:gdLst>
                  <a:gd name="connsiteX0" fmla="*/ 2217013 w 2411783"/>
                  <a:gd name="connsiteY0" fmla="*/ 304646 h 913939"/>
                  <a:gd name="connsiteX1" fmla="*/ 2013916 w 2411783"/>
                  <a:gd name="connsiteY1" fmla="*/ 304646 h 913939"/>
                  <a:gd name="connsiteX2" fmla="*/ 2013916 w 2411783"/>
                  <a:gd name="connsiteY2" fmla="*/ 710842 h 913939"/>
                  <a:gd name="connsiteX3" fmla="*/ 1810818 w 2411783"/>
                  <a:gd name="connsiteY3" fmla="*/ 710842 h 913939"/>
                  <a:gd name="connsiteX4" fmla="*/ 1810818 w 2411783"/>
                  <a:gd name="connsiteY4" fmla="*/ 507744 h 913939"/>
                  <a:gd name="connsiteX5" fmla="*/ 1607721 w 2411783"/>
                  <a:gd name="connsiteY5" fmla="*/ 507744 h 913939"/>
                  <a:gd name="connsiteX6" fmla="*/ 1607721 w 2411783"/>
                  <a:gd name="connsiteY6" fmla="*/ 710842 h 913939"/>
                  <a:gd name="connsiteX7" fmla="*/ 1404623 w 2411783"/>
                  <a:gd name="connsiteY7" fmla="*/ 710842 h 913939"/>
                  <a:gd name="connsiteX8" fmla="*/ 1404623 w 2411783"/>
                  <a:gd name="connsiteY8" fmla="*/ 203098 h 913939"/>
                  <a:gd name="connsiteX9" fmla="*/ 1201525 w 2411783"/>
                  <a:gd name="connsiteY9" fmla="*/ 203098 h 913939"/>
                  <a:gd name="connsiteX10" fmla="*/ 1201525 w 2411783"/>
                  <a:gd name="connsiteY10" fmla="*/ 710842 h 913939"/>
                  <a:gd name="connsiteX11" fmla="*/ 998428 w 2411783"/>
                  <a:gd name="connsiteY11" fmla="*/ 710842 h 913939"/>
                  <a:gd name="connsiteX12" fmla="*/ 998428 w 2411783"/>
                  <a:gd name="connsiteY12" fmla="*/ 0 h 913939"/>
                  <a:gd name="connsiteX13" fmla="*/ 795330 w 2411783"/>
                  <a:gd name="connsiteY13" fmla="*/ 0 h 913939"/>
                  <a:gd name="connsiteX14" fmla="*/ 795330 w 2411783"/>
                  <a:gd name="connsiteY14" fmla="*/ 710842 h 913939"/>
                  <a:gd name="connsiteX15" fmla="*/ 545025 w 2411783"/>
                  <a:gd name="connsiteY15" fmla="*/ 710842 h 913939"/>
                  <a:gd name="connsiteX16" fmla="*/ 168977 w 2411783"/>
                  <a:gd name="connsiteY16" fmla="*/ 146725 h 913939"/>
                  <a:gd name="connsiteX17" fmla="*/ 0 w 2411783"/>
                  <a:gd name="connsiteY17" fmla="*/ 259470 h 913939"/>
                  <a:gd name="connsiteX18" fmla="*/ 436342 w 2411783"/>
                  <a:gd name="connsiteY18" fmla="*/ 913939 h 913939"/>
                  <a:gd name="connsiteX19" fmla="*/ 2420111 w 2411783"/>
                  <a:gd name="connsiteY19" fmla="*/ 913939 h 913939"/>
                  <a:gd name="connsiteX20" fmla="*/ 2420111 w 2411783"/>
                  <a:gd name="connsiteY20" fmla="*/ 710842 h 913939"/>
                  <a:gd name="connsiteX21" fmla="*/ 2217013 w 2411783"/>
                  <a:gd name="connsiteY21" fmla="*/ 710842 h 913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411783" h="913939">
                    <a:moveTo>
                      <a:pt x="2217013" y="304646"/>
                    </a:moveTo>
                    <a:lnTo>
                      <a:pt x="2013916" y="304646"/>
                    </a:lnTo>
                    <a:lnTo>
                      <a:pt x="2013916" y="710842"/>
                    </a:lnTo>
                    <a:lnTo>
                      <a:pt x="1810818" y="710842"/>
                    </a:lnTo>
                    <a:lnTo>
                      <a:pt x="1810818" y="507744"/>
                    </a:lnTo>
                    <a:lnTo>
                      <a:pt x="1607721" y="507744"/>
                    </a:lnTo>
                    <a:lnTo>
                      <a:pt x="1607721" y="710842"/>
                    </a:lnTo>
                    <a:lnTo>
                      <a:pt x="1404623" y="710842"/>
                    </a:lnTo>
                    <a:lnTo>
                      <a:pt x="1404623" y="203098"/>
                    </a:lnTo>
                    <a:lnTo>
                      <a:pt x="1201525" y="203098"/>
                    </a:lnTo>
                    <a:lnTo>
                      <a:pt x="1201525" y="710842"/>
                    </a:lnTo>
                    <a:lnTo>
                      <a:pt x="998428" y="710842"/>
                    </a:lnTo>
                    <a:lnTo>
                      <a:pt x="998428" y="0"/>
                    </a:lnTo>
                    <a:lnTo>
                      <a:pt x="795330" y="0"/>
                    </a:lnTo>
                    <a:lnTo>
                      <a:pt x="795330" y="710842"/>
                    </a:lnTo>
                    <a:lnTo>
                      <a:pt x="545025" y="710842"/>
                    </a:lnTo>
                    <a:lnTo>
                      <a:pt x="168977" y="146725"/>
                    </a:lnTo>
                    <a:lnTo>
                      <a:pt x="0" y="259470"/>
                    </a:lnTo>
                    <a:lnTo>
                      <a:pt x="436342" y="913939"/>
                    </a:lnTo>
                    <a:lnTo>
                      <a:pt x="2420111" y="913939"/>
                    </a:lnTo>
                    <a:lnTo>
                      <a:pt x="2420111" y="710842"/>
                    </a:lnTo>
                    <a:lnTo>
                      <a:pt x="2217013" y="710842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21" name="Freeform: Shape 106">
                <a:extLst>
                  <a:ext uri="{FF2B5EF4-FFF2-40B4-BE49-F238E27FC236}">
                    <a16:creationId xmlns:a16="http://schemas.microsoft.com/office/drawing/2014/main" id="{8D5482E6-210A-1144-8074-D1B88907966E}"/>
                  </a:ext>
                </a:extLst>
              </p:cNvPr>
              <p:cNvSpPr/>
              <p:nvPr/>
            </p:nvSpPr>
            <p:spPr>
              <a:xfrm>
                <a:off x="3901765" y="2108865"/>
                <a:ext cx="1777104" cy="482357"/>
              </a:xfrm>
              <a:custGeom>
                <a:avLst/>
                <a:gdLst>
                  <a:gd name="connsiteX0" fmla="*/ 500953 w 1777103"/>
                  <a:gd name="connsiteY0" fmla="*/ 203098 h 482356"/>
                  <a:gd name="connsiteX1" fmla="*/ 1787271 w 1777103"/>
                  <a:gd name="connsiteY1" fmla="*/ 203098 h 482356"/>
                  <a:gd name="connsiteX2" fmla="*/ 1787271 w 1777103"/>
                  <a:gd name="connsiteY2" fmla="*/ 0 h 482356"/>
                  <a:gd name="connsiteX3" fmla="*/ 433321 w 1777103"/>
                  <a:gd name="connsiteY3" fmla="*/ 0 h 482356"/>
                  <a:gd name="connsiteX4" fmla="*/ 0 w 1777103"/>
                  <a:gd name="connsiteY4" fmla="*/ 324982 h 482356"/>
                  <a:gd name="connsiteX5" fmla="*/ 121884 w 1777103"/>
                  <a:gd name="connsiteY5" fmla="*/ 487409 h 482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7103" h="482356">
                    <a:moveTo>
                      <a:pt x="500953" y="203098"/>
                    </a:moveTo>
                    <a:lnTo>
                      <a:pt x="1787271" y="203098"/>
                    </a:lnTo>
                    <a:lnTo>
                      <a:pt x="1787271" y="0"/>
                    </a:lnTo>
                    <a:lnTo>
                      <a:pt x="433321" y="0"/>
                    </a:lnTo>
                    <a:lnTo>
                      <a:pt x="0" y="324982"/>
                    </a:lnTo>
                    <a:lnTo>
                      <a:pt x="121884" y="487409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22" name="Freeform: Shape 107">
                <a:extLst>
                  <a:ext uri="{FF2B5EF4-FFF2-40B4-BE49-F238E27FC236}">
                    <a16:creationId xmlns:a16="http://schemas.microsoft.com/office/drawing/2014/main" id="{DEAAECE9-9C5D-7A41-B7D5-6E55324D8600}"/>
                  </a:ext>
                </a:extLst>
              </p:cNvPr>
              <p:cNvSpPr/>
              <p:nvPr/>
            </p:nvSpPr>
            <p:spPr>
              <a:xfrm>
                <a:off x="2642572" y="2515060"/>
                <a:ext cx="406195" cy="203098"/>
              </a:xfrm>
              <a:custGeom>
                <a:avLst/>
                <a:gdLst>
                  <a:gd name="connsiteX0" fmla="*/ 0 w 406195"/>
                  <a:gd name="connsiteY0" fmla="*/ 0 h 203097"/>
                  <a:gd name="connsiteX1" fmla="*/ 406195 w 406195"/>
                  <a:gd name="connsiteY1" fmla="*/ 0 h 203097"/>
                  <a:gd name="connsiteX2" fmla="*/ 406195 w 406195"/>
                  <a:gd name="connsiteY2" fmla="*/ 203098 h 203097"/>
                  <a:gd name="connsiteX3" fmla="*/ 0 w 406195"/>
                  <a:gd name="connsiteY3" fmla="*/ 203098 h 20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195" h="203097">
                    <a:moveTo>
                      <a:pt x="0" y="0"/>
                    </a:moveTo>
                    <a:lnTo>
                      <a:pt x="406195" y="0"/>
                    </a:lnTo>
                    <a:lnTo>
                      <a:pt x="406195" y="203098"/>
                    </a:lnTo>
                    <a:lnTo>
                      <a:pt x="0" y="203098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23" name="Freeform: Shape 108">
                <a:extLst>
                  <a:ext uri="{FF2B5EF4-FFF2-40B4-BE49-F238E27FC236}">
                    <a16:creationId xmlns:a16="http://schemas.microsoft.com/office/drawing/2014/main" id="{1B4B9E8F-C6AB-604B-82A3-67E8C51F0BDA}"/>
                  </a:ext>
                </a:extLst>
              </p:cNvPr>
              <p:cNvSpPr/>
              <p:nvPr/>
            </p:nvSpPr>
            <p:spPr>
              <a:xfrm>
                <a:off x="3567123" y="3078986"/>
                <a:ext cx="380808" cy="495050"/>
              </a:xfrm>
              <a:custGeom>
                <a:avLst/>
                <a:gdLst>
                  <a:gd name="connsiteX0" fmla="*/ 0 w 380807"/>
                  <a:gd name="connsiteY0" fmla="*/ 406144 h 495050"/>
                  <a:gd name="connsiteX1" fmla="*/ 203098 w 380807"/>
                  <a:gd name="connsiteY1" fmla="*/ 0 h 495050"/>
                  <a:gd name="connsiteX2" fmla="*/ 384730 w 380807"/>
                  <a:gd name="connsiteY2" fmla="*/ 90835 h 495050"/>
                  <a:gd name="connsiteX3" fmla="*/ 181633 w 380807"/>
                  <a:gd name="connsiteY3" fmla="*/ 496980 h 49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807" h="495050">
                    <a:moveTo>
                      <a:pt x="0" y="406144"/>
                    </a:moveTo>
                    <a:lnTo>
                      <a:pt x="203098" y="0"/>
                    </a:lnTo>
                    <a:lnTo>
                      <a:pt x="384730" y="90835"/>
                    </a:lnTo>
                    <a:lnTo>
                      <a:pt x="181633" y="496980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24" name="Freeform: Shape 109">
                <a:extLst>
                  <a:ext uri="{FF2B5EF4-FFF2-40B4-BE49-F238E27FC236}">
                    <a16:creationId xmlns:a16="http://schemas.microsoft.com/office/drawing/2014/main" id="{857B4812-B1B7-1549-A099-486F22CA4E9F}"/>
                  </a:ext>
                </a:extLst>
              </p:cNvPr>
              <p:cNvSpPr/>
              <p:nvPr/>
            </p:nvSpPr>
            <p:spPr>
              <a:xfrm>
                <a:off x="2856282" y="3891326"/>
                <a:ext cx="380808" cy="495050"/>
              </a:xfrm>
              <a:custGeom>
                <a:avLst/>
                <a:gdLst>
                  <a:gd name="connsiteX0" fmla="*/ 0 w 380807"/>
                  <a:gd name="connsiteY0" fmla="*/ 406195 h 495050"/>
                  <a:gd name="connsiteX1" fmla="*/ 203047 w 380807"/>
                  <a:gd name="connsiteY1" fmla="*/ 0 h 495050"/>
                  <a:gd name="connsiteX2" fmla="*/ 384730 w 380807"/>
                  <a:gd name="connsiteY2" fmla="*/ 90835 h 495050"/>
                  <a:gd name="connsiteX3" fmla="*/ 181633 w 380807"/>
                  <a:gd name="connsiteY3" fmla="*/ 496980 h 49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807" h="495050">
                    <a:moveTo>
                      <a:pt x="0" y="406195"/>
                    </a:moveTo>
                    <a:lnTo>
                      <a:pt x="203047" y="0"/>
                    </a:lnTo>
                    <a:lnTo>
                      <a:pt x="384730" y="90835"/>
                    </a:lnTo>
                    <a:lnTo>
                      <a:pt x="181633" y="496980"/>
                    </a:lnTo>
                    <a:close/>
                  </a:path>
                </a:pathLst>
              </a:custGeom>
              <a:grpFill/>
              <a:ln w="126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</p:grpSp>
      <p:sp>
        <p:nvSpPr>
          <p:cNvPr id="236" name="Footer Placeholder 4">
            <a:extLst>
              <a:ext uri="{FF2B5EF4-FFF2-40B4-BE49-F238E27FC236}">
                <a16:creationId xmlns:a16="http://schemas.microsoft.com/office/drawing/2014/main" id="{21736ADE-D220-FF45-B879-A6B9A94F7C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" y="6463411"/>
            <a:ext cx="12190413" cy="365210"/>
          </a:xfrm>
          <a:prstGeom prst="rect">
            <a:avLst/>
          </a:prstGeom>
        </p:spPr>
        <p:txBody>
          <a:bodyPr/>
          <a:lstStyle>
            <a:lvl1pPr algn="ctr">
              <a:defRPr sz="10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© Omnia Education Partnerships 2024  ┃   </a:t>
            </a:r>
            <a:r>
              <a:rPr lang="en-US" dirty="0" err="1"/>
              <a:t>www.oep.fi</a:t>
            </a:r>
            <a:endParaRPr lang="en-US" dirty="0"/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A1867EE1-FB1B-3B48-AAA1-33180F188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6" y="658303"/>
            <a:ext cx="11520487" cy="387798"/>
          </a:xfrm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r>
              <a:rPr lang="en-GB" dirty="0"/>
              <a:t>O</a:t>
            </a:r>
            <a:r>
              <a:rPr lang="en-FI"/>
              <a:t>UR</a:t>
            </a:r>
            <a:r>
              <a:rPr lang="fi-FI" dirty="0"/>
              <a:t> APPROACH </a:t>
            </a:r>
            <a:endParaRPr lang="en-FI" dirty="0"/>
          </a:p>
        </p:txBody>
      </p:sp>
      <p:sp>
        <p:nvSpPr>
          <p:cNvPr id="58" name="Slide Number Placeholder 5">
            <a:extLst>
              <a:ext uri="{FF2B5EF4-FFF2-40B4-BE49-F238E27FC236}">
                <a16:creationId xmlns:a16="http://schemas.microsoft.com/office/drawing/2014/main" id="{74D75467-8369-BE49-8F1D-8A4C35831E93}"/>
              </a:ext>
            </a:extLst>
          </p:cNvPr>
          <p:cNvSpPr txBox="1">
            <a:spLocks/>
          </p:cNvSpPr>
          <p:nvPr/>
        </p:nvSpPr>
        <p:spPr>
          <a:xfrm>
            <a:off x="9214210" y="6456286"/>
            <a:ext cx="2742843" cy="365210"/>
          </a:xfrm>
          <a:prstGeom prst="rect">
            <a:avLst/>
          </a:prstGeom>
        </p:spPr>
        <p:txBody>
          <a:bodyPr/>
          <a:lstStyle>
            <a:defPPr>
              <a:defRPr lang="en-FI"/>
            </a:defPPr>
            <a:lvl1pPr marL="0" algn="r" defTabSz="914400" rtl="0" eaLnBrk="1" latinLnBrk="0" hangingPunct="1">
              <a:defRPr sz="1400" b="1" i="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D4EAEC-9D2F-A247-8B97-A50C66427D0C}"/>
              </a:ext>
            </a:extLst>
          </p:cNvPr>
          <p:cNvSpPr txBox="1"/>
          <p:nvPr/>
        </p:nvSpPr>
        <p:spPr>
          <a:xfrm>
            <a:off x="1167564" y="4266577"/>
            <a:ext cx="22673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Understand the present status quo and set targets and key strategies for further excellence development in selected focus area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378C463-BB5E-D74D-975A-5F75A8C460D0}"/>
              </a:ext>
            </a:extLst>
          </p:cNvPr>
          <p:cNvSpPr txBox="1"/>
          <p:nvPr/>
        </p:nvSpPr>
        <p:spPr>
          <a:xfrm>
            <a:off x="3783966" y="4277051"/>
            <a:ext cx="22673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ake action across the organization, measure results, review progres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AF2844-FD35-264E-B952-0FD467B548C3}"/>
              </a:ext>
            </a:extLst>
          </p:cNvPr>
          <p:cNvSpPr txBox="1"/>
          <p:nvPr/>
        </p:nvSpPr>
        <p:spPr>
          <a:xfrm>
            <a:off x="6400269" y="4266576"/>
            <a:ext cx="243775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mend development plan and KPI’s as required due to potential changes in technology, operating environment, etc.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F6CF883-376F-0C45-885B-A7679963A17A}"/>
              </a:ext>
            </a:extLst>
          </p:cNvPr>
          <p:cNvSpPr txBox="1"/>
          <p:nvPr/>
        </p:nvSpPr>
        <p:spPr>
          <a:xfrm>
            <a:off x="9033685" y="4303127"/>
            <a:ext cx="243775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ngage in national level dialogue, contribute to international R&amp;D networks, be a beacon of innovation within selected focus areas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8C81C7A-9061-8D4A-A564-FC93956BA1A9}"/>
              </a:ext>
            </a:extLst>
          </p:cNvPr>
          <p:cNvCxnSpPr/>
          <p:nvPr/>
        </p:nvCxnSpPr>
        <p:spPr>
          <a:xfrm>
            <a:off x="733778" y="5689600"/>
            <a:ext cx="10927644" cy="0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869A66C-4936-2349-BCC0-694BA2267229}"/>
              </a:ext>
            </a:extLst>
          </p:cNvPr>
          <p:cNvSpPr txBox="1"/>
          <p:nvPr/>
        </p:nvSpPr>
        <p:spPr>
          <a:xfrm>
            <a:off x="418" y="5533336"/>
            <a:ext cx="18062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im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63B81B-40AB-C14B-9E78-4FD6E394AC92}"/>
              </a:ext>
            </a:extLst>
          </p:cNvPr>
          <p:cNvSpPr txBox="1"/>
          <p:nvPr/>
        </p:nvSpPr>
        <p:spPr>
          <a:xfrm>
            <a:off x="1515466" y="5804573"/>
            <a:ext cx="17848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6 month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326948-4767-CE4A-BBAC-B2C97483A427}"/>
              </a:ext>
            </a:extLst>
          </p:cNvPr>
          <p:cNvSpPr txBox="1"/>
          <p:nvPr/>
        </p:nvSpPr>
        <p:spPr>
          <a:xfrm>
            <a:off x="4282289" y="5804573"/>
            <a:ext cx="1388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 yea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3D675E-C344-E241-80FE-FB2016C6EDEC}"/>
              </a:ext>
            </a:extLst>
          </p:cNvPr>
          <p:cNvSpPr txBox="1"/>
          <p:nvPr/>
        </p:nvSpPr>
        <p:spPr>
          <a:xfrm>
            <a:off x="7508887" y="5817966"/>
            <a:ext cx="3223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Ongoing loop after first yea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EE30B6E-0DF4-C37D-7FA8-CABDCCA98114}"/>
              </a:ext>
            </a:extLst>
          </p:cNvPr>
          <p:cNvSpPr txBox="1">
            <a:spLocks/>
          </p:cNvSpPr>
          <p:nvPr/>
        </p:nvSpPr>
        <p:spPr>
          <a:xfrm>
            <a:off x="9214210" y="6448234"/>
            <a:ext cx="2742843" cy="365210"/>
          </a:xfrm>
          <a:prstGeom prst="rect">
            <a:avLst/>
          </a:prstGeom>
        </p:spPr>
        <p:txBody>
          <a:bodyPr/>
          <a:lstStyle>
            <a:defPPr>
              <a:defRPr lang="en-FI"/>
            </a:defPPr>
            <a:lvl1pPr marL="0" algn="r" defTabSz="914400" rtl="0" eaLnBrk="1" latinLnBrk="0" hangingPunct="1">
              <a:defRPr sz="1400" b="1" i="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EEA229-0096-49BD-81C1-58B039421B74}" type="slidenum">
              <a:rPr lang="en-US"/>
              <a:pPr/>
              <a:t>10</a:t>
            </a:fld>
            <a:r>
              <a:rPr lang="en-US" dirty="0"/>
              <a:t> ┃7</a:t>
            </a:r>
          </a:p>
        </p:txBody>
      </p:sp>
    </p:spTree>
    <p:extLst>
      <p:ext uri="{BB962C8B-B14F-4D97-AF65-F5344CB8AC3E}">
        <p14:creationId xmlns:p14="http://schemas.microsoft.com/office/powerpoint/2010/main" val="122159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D47CC8-23D5-2048-8605-1A8C970AD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022" y="374823"/>
            <a:ext cx="10514231" cy="1325870"/>
          </a:xfrm>
        </p:spPr>
        <p:txBody>
          <a:bodyPr/>
          <a:lstStyle/>
          <a:p>
            <a:r>
              <a:rPr lang="en-US" cap="all" dirty="0"/>
              <a:t>APPLICATIONS OF THE MODEL - A VET EXCELLENCE AUDIT </a:t>
            </a:r>
            <a:br>
              <a:rPr lang="en-US" dirty="0"/>
            </a:br>
            <a:endParaRPr lang="en-US" sz="1400" dirty="0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24C7C453-D1BB-D14E-8C1C-4FD7D8148D87}"/>
              </a:ext>
            </a:extLst>
          </p:cNvPr>
          <p:cNvSpPr/>
          <p:nvPr/>
        </p:nvSpPr>
        <p:spPr>
          <a:xfrm>
            <a:off x="1435385" y="2043953"/>
            <a:ext cx="10010381" cy="1507068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AA83FE-4C47-FF43-8E5E-69411C3ED393}"/>
              </a:ext>
            </a:extLst>
          </p:cNvPr>
          <p:cNvSpPr txBox="1"/>
          <p:nvPr/>
        </p:nvSpPr>
        <p:spPr>
          <a:xfrm>
            <a:off x="1248752" y="3489279"/>
            <a:ext cx="132628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. Capacity building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excellence  and </a:t>
            </a:r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k review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 pre-defined documents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2B8B8C-F0A0-F54A-BBBA-A9A2172677B6}"/>
              </a:ext>
            </a:extLst>
          </p:cNvPr>
          <p:cNvSpPr txBox="1"/>
          <p:nvPr/>
        </p:nvSpPr>
        <p:spPr>
          <a:xfrm>
            <a:off x="2677339" y="3482656"/>
            <a:ext cx="132628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 Analysis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f findings and </a:t>
            </a:r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nning of on-site audi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C606ED5-CC85-7045-AA34-4587D252B4C4}"/>
              </a:ext>
            </a:extLst>
          </p:cNvPr>
          <p:cNvSpPr txBox="1"/>
          <p:nvPr/>
        </p:nvSpPr>
        <p:spPr>
          <a:xfrm>
            <a:off x="4402452" y="3429794"/>
            <a:ext cx="1978117" cy="20313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. On-site audit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nned across </a:t>
            </a:r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rizontals and verticals.</a:t>
            </a:r>
          </a:p>
          <a:p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shop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excellence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key  staff and stakeholders</a:t>
            </a:r>
          </a:p>
          <a:p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1FC155-30A9-AD44-B112-D3A77BF91F97}"/>
              </a:ext>
            </a:extLst>
          </p:cNvPr>
          <p:cNvSpPr txBox="1"/>
          <p:nvPr/>
        </p:nvSpPr>
        <p:spPr>
          <a:xfrm>
            <a:off x="6105099" y="3482656"/>
            <a:ext cx="137734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. Online follow up survey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management, teaching staff, students and stakeholders</a:t>
            </a:r>
          </a:p>
          <a:p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14F5AB-8536-2C4F-B3AC-75895469E205}"/>
              </a:ext>
            </a:extLst>
          </p:cNvPr>
          <p:cNvSpPr txBox="1"/>
          <p:nvPr/>
        </p:nvSpPr>
        <p:spPr>
          <a:xfrm>
            <a:off x="7669074" y="3471990"/>
            <a:ext cx="184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. Results and recommendations workshop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luding milestones and actions poin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95929F-75A0-134D-AD4B-2F7415D20579}"/>
              </a:ext>
            </a:extLst>
          </p:cNvPr>
          <p:cNvSpPr txBox="1"/>
          <p:nvPr/>
        </p:nvSpPr>
        <p:spPr>
          <a:xfrm>
            <a:off x="9479016" y="3503243"/>
            <a:ext cx="134853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.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going</a:t>
            </a:r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llaborative activities to </a:t>
            </a:r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rove status quo, set and reach new goals for continued excellence</a:t>
            </a:r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Right Arrow 28">
            <a:extLst>
              <a:ext uri="{FF2B5EF4-FFF2-40B4-BE49-F238E27FC236}">
                <a16:creationId xmlns:a16="http://schemas.microsoft.com/office/drawing/2014/main" id="{ECDC4D82-CF9D-EC40-BDE5-CB8E92EFFF5F}"/>
              </a:ext>
            </a:extLst>
          </p:cNvPr>
          <p:cNvSpPr/>
          <p:nvPr/>
        </p:nvSpPr>
        <p:spPr>
          <a:xfrm>
            <a:off x="7107519" y="2523883"/>
            <a:ext cx="3720031" cy="52335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ight Arrow 30">
            <a:extLst>
              <a:ext uri="{FF2B5EF4-FFF2-40B4-BE49-F238E27FC236}">
                <a16:creationId xmlns:a16="http://schemas.microsoft.com/office/drawing/2014/main" id="{CB5A66AF-B924-F64D-90C5-8CAC51A707E6}"/>
              </a:ext>
            </a:extLst>
          </p:cNvPr>
          <p:cNvSpPr/>
          <p:nvPr/>
        </p:nvSpPr>
        <p:spPr>
          <a:xfrm>
            <a:off x="4411449" y="2528701"/>
            <a:ext cx="2904462" cy="523356"/>
          </a:xfrm>
          <a:prstGeom prst="rightArrow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Right Arrow 31">
            <a:extLst>
              <a:ext uri="{FF2B5EF4-FFF2-40B4-BE49-F238E27FC236}">
                <a16:creationId xmlns:a16="http://schemas.microsoft.com/office/drawing/2014/main" id="{141A22FF-7C31-DA45-8D82-A66D8442B20C}"/>
              </a:ext>
            </a:extLst>
          </p:cNvPr>
          <p:cNvSpPr/>
          <p:nvPr/>
        </p:nvSpPr>
        <p:spPr>
          <a:xfrm>
            <a:off x="1715378" y="2521426"/>
            <a:ext cx="2904462" cy="523356"/>
          </a:xfrm>
          <a:prstGeom prst="right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F60F54-3857-F88B-E2F8-D6D55398B2B1}"/>
              </a:ext>
            </a:extLst>
          </p:cNvPr>
          <p:cNvSpPr txBox="1"/>
          <p:nvPr/>
        </p:nvSpPr>
        <p:spPr>
          <a:xfrm>
            <a:off x="3044964" y="1877987"/>
            <a:ext cx="61004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GES</a:t>
            </a:r>
            <a:endParaRPr lang="en-FI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AA4ED2-F482-2B40-BD0D-1DE4176F44AF}"/>
              </a:ext>
            </a:extLst>
          </p:cNvPr>
          <p:cNvSpPr txBox="1"/>
          <p:nvPr/>
        </p:nvSpPr>
        <p:spPr>
          <a:xfrm>
            <a:off x="1966297" y="2633514"/>
            <a:ext cx="223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0B9D3BC-5F04-F142-8B0D-EC356085519A}"/>
              </a:ext>
            </a:extLst>
          </p:cNvPr>
          <p:cNvSpPr txBox="1"/>
          <p:nvPr/>
        </p:nvSpPr>
        <p:spPr>
          <a:xfrm>
            <a:off x="7576072" y="2644126"/>
            <a:ext cx="203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9901C3-4025-2A41-89B1-55B843CE72D8}"/>
              </a:ext>
            </a:extLst>
          </p:cNvPr>
          <p:cNvSpPr txBox="1"/>
          <p:nvPr/>
        </p:nvSpPr>
        <p:spPr>
          <a:xfrm>
            <a:off x="4652161" y="2632855"/>
            <a:ext cx="223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3" name="Google Shape;139;p5">
            <a:extLst>
              <a:ext uri="{FF2B5EF4-FFF2-40B4-BE49-F238E27FC236}">
                <a16:creationId xmlns:a16="http://schemas.microsoft.com/office/drawing/2014/main" id="{A8ED442D-A250-007B-9522-D526CB5D7DD6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6244011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6C508B81-D5D4-2991-8F68-9BC16CA53C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6625" y="575495"/>
            <a:ext cx="5638611" cy="5392346"/>
          </a:xfrm>
          <a:prstGeom prst="rect">
            <a:avLst/>
          </a:prstGeom>
        </p:spPr>
      </p:pic>
      <p:sp>
        <p:nvSpPr>
          <p:cNvPr id="4" name="Google Shape;154;g281b3a7bbb6_0_0">
            <a:extLst>
              <a:ext uri="{FF2B5EF4-FFF2-40B4-BE49-F238E27FC236}">
                <a16:creationId xmlns:a16="http://schemas.microsoft.com/office/drawing/2014/main" id="{3A4FF3D9-7C5F-A22E-B447-A9FF71F3AB60}"/>
              </a:ext>
            </a:extLst>
          </p:cNvPr>
          <p:cNvSpPr txBox="1">
            <a:spLocks/>
          </p:cNvSpPr>
          <p:nvPr/>
        </p:nvSpPr>
        <p:spPr>
          <a:xfrm>
            <a:off x="4647502" y="5453732"/>
            <a:ext cx="185668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</a:pPr>
            <a:r>
              <a:rPr lang="fi-FI" sz="2000"/>
              <a:t>Systems and processes</a:t>
            </a:r>
          </a:p>
        </p:txBody>
      </p:sp>
      <p:sp>
        <p:nvSpPr>
          <p:cNvPr id="5" name="Google Shape;154;g281b3a7bbb6_0_0">
            <a:extLst>
              <a:ext uri="{FF2B5EF4-FFF2-40B4-BE49-F238E27FC236}">
                <a16:creationId xmlns:a16="http://schemas.microsoft.com/office/drawing/2014/main" id="{CFD37E16-94AD-D997-8C4A-02AA6231A9C1}"/>
              </a:ext>
            </a:extLst>
          </p:cNvPr>
          <p:cNvSpPr txBox="1">
            <a:spLocks/>
          </p:cNvSpPr>
          <p:nvPr/>
        </p:nvSpPr>
        <p:spPr>
          <a:xfrm>
            <a:off x="9887672" y="5391145"/>
            <a:ext cx="185668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</a:pPr>
            <a:r>
              <a:rPr lang="fi-FI" sz="2000"/>
              <a:t>Pedagogical landscape</a:t>
            </a:r>
          </a:p>
        </p:txBody>
      </p:sp>
      <p:sp>
        <p:nvSpPr>
          <p:cNvPr id="6" name="Google Shape;154;g281b3a7bbb6_0_0">
            <a:extLst>
              <a:ext uri="{FF2B5EF4-FFF2-40B4-BE49-F238E27FC236}">
                <a16:creationId xmlns:a16="http://schemas.microsoft.com/office/drawing/2014/main" id="{FF803EAE-8D68-9532-95B8-16CEA854FFE1}"/>
              </a:ext>
            </a:extLst>
          </p:cNvPr>
          <p:cNvSpPr txBox="1">
            <a:spLocks/>
          </p:cNvSpPr>
          <p:nvPr/>
        </p:nvSpPr>
        <p:spPr>
          <a:xfrm>
            <a:off x="3796071" y="2433749"/>
            <a:ext cx="185668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</a:pPr>
            <a:r>
              <a:rPr lang="fi-FI" sz="2000"/>
              <a:t>Stakeholder collaboration</a:t>
            </a:r>
          </a:p>
        </p:txBody>
      </p:sp>
      <p:sp>
        <p:nvSpPr>
          <p:cNvPr id="7" name="Google Shape;154;g281b3a7bbb6_0_0">
            <a:extLst>
              <a:ext uri="{FF2B5EF4-FFF2-40B4-BE49-F238E27FC236}">
                <a16:creationId xmlns:a16="http://schemas.microsoft.com/office/drawing/2014/main" id="{F0D7042B-DB09-F996-EE05-40B1901A9F9A}"/>
              </a:ext>
            </a:extLst>
          </p:cNvPr>
          <p:cNvSpPr txBox="1">
            <a:spLocks/>
          </p:cNvSpPr>
          <p:nvPr/>
        </p:nvSpPr>
        <p:spPr>
          <a:xfrm>
            <a:off x="10537971" y="2434650"/>
            <a:ext cx="185668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</a:pPr>
            <a:r>
              <a:rPr lang="fi-FI" sz="2000"/>
              <a:t>Human resources</a:t>
            </a:r>
          </a:p>
        </p:txBody>
      </p:sp>
      <p:sp>
        <p:nvSpPr>
          <p:cNvPr id="8" name="Google Shape;154;g281b3a7bbb6_0_0">
            <a:extLst>
              <a:ext uri="{FF2B5EF4-FFF2-40B4-BE49-F238E27FC236}">
                <a16:creationId xmlns:a16="http://schemas.microsoft.com/office/drawing/2014/main" id="{822A0185-AF8F-0439-478E-896020B8A4A9}"/>
              </a:ext>
            </a:extLst>
          </p:cNvPr>
          <p:cNvSpPr txBox="1">
            <a:spLocks/>
          </p:cNvSpPr>
          <p:nvPr/>
        </p:nvSpPr>
        <p:spPr>
          <a:xfrm>
            <a:off x="7139276" y="130679"/>
            <a:ext cx="211330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</a:pPr>
            <a:r>
              <a:rPr lang="fi-FI" sz="1900"/>
              <a:t>Infrastructure</a:t>
            </a:r>
          </a:p>
        </p:txBody>
      </p:sp>
      <p:sp>
        <p:nvSpPr>
          <p:cNvPr id="9" name="Google Shape;154;g281b3a7bbb6_0_0">
            <a:extLst>
              <a:ext uri="{FF2B5EF4-FFF2-40B4-BE49-F238E27FC236}">
                <a16:creationId xmlns:a16="http://schemas.microsoft.com/office/drawing/2014/main" id="{8C25AD95-6D41-E52D-7433-1198C9972F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89746" y="392750"/>
            <a:ext cx="10514100" cy="1105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i-FI" dirty="0"/>
              <a:t>360 </a:t>
            </a:r>
            <a:r>
              <a:rPr lang="fi-FI" dirty="0" err="1"/>
              <a:t>Survey</a:t>
            </a:r>
            <a:r>
              <a:rPr lang="fi-FI" dirty="0"/>
              <a:t> - </a:t>
            </a:r>
            <a:r>
              <a:rPr lang="fi-FI" dirty="0" err="1"/>
              <a:t>Horizontal</a:t>
            </a:r>
            <a:r>
              <a:rPr lang="fi-FI" dirty="0"/>
              <a:t> </a:t>
            </a:r>
            <a:r>
              <a:rPr lang="fi-FI" dirty="0" err="1"/>
              <a:t>Layers</a:t>
            </a:r>
            <a:endParaRPr dirty="0"/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FE6A2A68-D27C-F577-0B07-6B3E6DF842B4}"/>
              </a:ext>
            </a:extLst>
          </p:cNvPr>
          <p:cNvGraphicFramePr>
            <a:graphicFrameLocks noGrp="1"/>
          </p:cNvGraphicFramePr>
          <p:nvPr/>
        </p:nvGraphicFramePr>
        <p:xfrm>
          <a:off x="276942" y="1804458"/>
          <a:ext cx="3519129" cy="3335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5197">
                  <a:extLst>
                    <a:ext uri="{9D8B030D-6E8A-4147-A177-3AD203B41FA5}">
                      <a16:colId xmlns:a16="http://schemas.microsoft.com/office/drawing/2014/main" val="585349874"/>
                    </a:ext>
                  </a:extLst>
                </a:gridCol>
                <a:gridCol w="500380">
                  <a:extLst>
                    <a:ext uri="{9D8B030D-6E8A-4147-A177-3AD203B41FA5}">
                      <a16:colId xmlns:a16="http://schemas.microsoft.com/office/drawing/2014/main" val="1473649318"/>
                    </a:ext>
                  </a:extLst>
                </a:gridCol>
                <a:gridCol w="500380">
                  <a:extLst>
                    <a:ext uri="{9D8B030D-6E8A-4147-A177-3AD203B41FA5}">
                      <a16:colId xmlns:a16="http://schemas.microsoft.com/office/drawing/2014/main" val="3553946967"/>
                    </a:ext>
                  </a:extLst>
                </a:gridCol>
                <a:gridCol w="500380">
                  <a:extLst>
                    <a:ext uri="{9D8B030D-6E8A-4147-A177-3AD203B41FA5}">
                      <a16:colId xmlns:a16="http://schemas.microsoft.com/office/drawing/2014/main" val="2342804838"/>
                    </a:ext>
                  </a:extLst>
                </a:gridCol>
                <a:gridCol w="492792">
                  <a:extLst>
                    <a:ext uri="{9D8B030D-6E8A-4147-A177-3AD203B41FA5}">
                      <a16:colId xmlns:a16="http://schemas.microsoft.com/office/drawing/2014/main" val="1648301964"/>
                    </a:ext>
                  </a:extLst>
                </a:gridCol>
              </a:tblGrid>
              <a:tr h="1314010"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100" b="1"/>
                        <a:t>STUDENTS</a:t>
                      </a:r>
                      <a:endParaRPr lang="en-US" sz="1100" b="1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fi-FI" sz="1100" b="1"/>
                        <a:t>TEACHERS</a:t>
                      </a:r>
                      <a:endParaRPr lang="en-US" sz="1100" b="1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fi-FI" sz="1100" b="1"/>
                        <a:t>MANAGEMENT</a:t>
                      </a:r>
                      <a:endParaRPr lang="en-US" sz="1100" b="1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fi-FI" sz="1100" b="1"/>
                        <a:t>STAKEHOLDERS</a:t>
                      </a:r>
                      <a:endParaRPr lang="en-US" sz="1100" b="1"/>
                    </a:p>
                  </a:txBody>
                  <a:tcPr vert="vert270"/>
                </a:tc>
                <a:extLst>
                  <a:ext uri="{0D108BD9-81ED-4DB2-BD59-A6C34878D82A}">
                    <a16:rowId xmlns:a16="http://schemas.microsoft.com/office/drawing/2014/main" val="26153996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sz="1100" b="1"/>
                        <a:t>INFRASTRUCTURE</a:t>
                      </a:r>
                      <a:endParaRPr lang="en-US" sz="11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1"/>
                          </a:solidFill>
                        </a:rPr>
                        <a:t>74%</a:t>
                      </a:r>
                      <a:endParaRPr lang="en-US" sz="1100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C00000"/>
                          </a:solidFill>
                        </a:rPr>
                        <a:t>62%</a:t>
                      </a:r>
                      <a:endParaRPr lang="en-US" sz="1100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3">
                              <a:lumMod val="65000"/>
                              <a:lumOff val="35000"/>
                            </a:schemeClr>
                          </a:solidFill>
                        </a:rPr>
                        <a:t>79%</a:t>
                      </a:r>
                      <a:endParaRPr lang="en-US" sz="1100" b="1">
                        <a:solidFill>
                          <a:schemeClr val="accent3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FFC000"/>
                          </a:solidFill>
                        </a:rPr>
                        <a:t>85%</a:t>
                      </a:r>
                      <a:endParaRPr lang="en-US" sz="1100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098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sz="1100" b="1"/>
                        <a:t>HUMAN RESOURCES</a:t>
                      </a:r>
                      <a:endParaRPr lang="en-US" sz="11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1"/>
                          </a:solidFill>
                        </a:rPr>
                        <a:t>92%</a:t>
                      </a:r>
                      <a:endParaRPr lang="en-US" sz="1100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C00000"/>
                          </a:solidFill>
                        </a:rPr>
                        <a:t>32%</a:t>
                      </a:r>
                      <a:endParaRPr lang="en-US" sz="1100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3">
                              <a:lumMod val="65000"/>
                              <a:lumOff val="35000"/>
                            </a:schemeClr>
                          </a:solidFill>
                        </a:rPr>
                        <a:t>42%</a:t>
                      </a:r>
                      <a:endParaRPr lang="en-US" sz="1100" b="1">
                        <a:solidFill>
                          <a:schemeClr val="accent3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FFC000"/>
                          </a:solidFill>
                        </a:rPr>
                        <a:t>87%</a:t>
                      </a:r>
                      <a:endParaRPr lang="en-US" sz="1100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414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sz="1100" b="1"/>
                        <a:t>PEDAGOGICAL LANDSCAPE</a:t>
                      </a:r>
                      <a:endParaRPr lang="en-US" sz="11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1"/>
                          </a:solidFill>
                        </a:rPr>
                        <a:t>62%</a:t>
                      </a:r>
                      <a:endParaRPr lang="en-US" sz="1100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C00000"/>
                          </a:solidFill>
                        </a:rPr>
                        <a:t>88%</a:t>
                      </a:r>
                      <a:endParaRPr lang="en-US" sz="1100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3">
                              <a:lumMod val="65000"/>
                              <a:lumOff val="35000"/>
                            </a:schemeClr>
                          </a:solidFill>
                        </a:rPr>
                        <a:t>92%</a:t>
                      </a:r>
                      <a:endParaRPr lang="en-US" sz="1100" b="1">
                        <a:solidFill>
                          <a:schemeClr val="accent3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FFC000"/>
                          </a:solidFill>
                        </a:rPr>
                        <a:t>79%</a:t>
                      </a:r>
                      <a:endParaRPr lang="en-US" sz="1100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6713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sz="1100" b="1"/>
                        <a:t>SYSTEMS AND PROCESSES</a:t>
                      </a:r>
                      <a:endParaRPr lang="en-US" sz="11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1"/>
                          </a:solidFill>
                        </a:rPr>
                        <a:t>52%</a:t>
                      </a:r>
                      <a:endParaRPr lang="en-US" sz="1100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C00000"/>
                          </a:solidFill>
                        </a:rPr>
                        <a:t>63%</a:t>
                      </a:r>
                      <a:endParaRPr lang="en-US" sz="1100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3">
                              <a:lumMod val="65000"/>
                              <a:lumOff val="35000"/>
                            </a:schemeClr>
                          </a:solidFill>
                        </a:rPr>
                        <a:t>54%</a:t>
                      </a:r>
                      <a:endParaRPr lang="en-US" sz="1100" b="1">
                        <a:solidFill>
                          <a:schemeClr val="accent3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FFC000"/>
                          </a:solidFill>
                        </a:rPr>
                        <a:t>61%</a:t>
                      </a:r>
                      <a:endParaRPr lang="en-US" sz="1100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51690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sz="1100" b="1"/>
                        <a:t>STAKEHOLDER COLLABORATION</a:t>
                      </a:r>
                      <a:endParaRPr lang="en-US" sz="11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1"/>
                          </a:solidFill>
                        </a:rPr>
                        <a:t>81%</a:t>
                      </a:r>
                      <a:endParaRPr lang="en-US" sz="1100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C00000"/>
                          </a:solidFill>
                        </a:rPr>
                        <a:t>79%</a:t>
                      </a:r>
                      <a:endParaRPr lang="en-US" sz="1100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chemeClr val="accent3">
                              <a:lumMod val="65000"/>
                              <a:lumOff val="35000"/>
                            </a:schemeClr>
                          </a:solidFill>
                        </a:rPr>
                        <a:t>82%</a:t>
                      </a:r>
                      <a:endParaRPr lang="en-US" sz="1100" b="1">
                        <a:solidFill>
                          <a:schemeClr val="accent3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100" b="1">
                          <a:solidFill>
                            <a:srgbClr val="FFC000"/>
                          </a:solidFill>
                        </a:rPr>
                        <a:t>97%</a:t>
                      </a:r>
                      <a:endParaRPr lang="en-US" sz="1100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570183"/>
                  </a:ext>
                </a:extLst>
              </a:tr>
            </a:tbl>
          </a:graphicData>
        </a:graphic>
      </p:graphicFrame>
      <p:sp>
        <p:nvSpPr>
          <p:cNvPr id="2" name="Google Shape;139;p5">
            <a:extLst>
              <a:ext uri="{FF2B5EF4-FFF2-40B4-BE49-F238E27FC236}">
                <a16:creationId xmlns:a16="http://schemas.microsoft.com/office/drawing/2014/main" id="{77E94E64-16E5-B20B-51B4-552AE68F6E72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E3A3282-6E2C-194C-F9ED-A164055980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6058" y="676824"/>
            <a:ext cx="5913537" cy="4902300"/>
          </a:xfrm>
          <a:prstGeom prst="rect">
            <a:avLst/>
          </a:prstGeom>
        </p:spPr>
      </p:pic>
      <p:sp>
        <p:nvSpPr>
          <p:cNvPr id="154" name="Google Shape;154;g281b3a7bbb6_0_0"/>
          <p:cNvSpPr txBox="1">
            <a:spLocks noGrp="1"/>
          </p:cNvSpPr>
          <p:nvPr>
            <p:ph type="title"/>
          </p:nvPr>
        </p:nvSpPr>
        <p:spPr>
          <a:xfrm>
            <a:off x="189746" y="392750"/>
            <a:ext cx="10514100" cy="1105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i-FI" dirty="0"/>
              <a:t>360 </a:t>
            </a:r>
            <a:r>
              <a:rPr lang="fi-FI" dirty="0" err="1"/>
              <a:t>Survey</a:t>
            </a:r>
            <a:r>
              <a:rPr lang="fi-FI" dirty="0"/>
              <a:t> - </a:t>
            </a:r>
            <a:r>
              <a:rPr lang="fi-FI" dirty="0" err="1"/>
              <a:t>Vertical</a:t>
            </a:r>
            <a:r>
              <a:rPr lang="fi-FI" dirty="0"/>
              <a:t> </a:t>
            </a:r>
            <a:r>
              <a:rPr lang="fi-FI" dirty="0" err="1"/>
              <a:t>Layers</a:t>
            </a:r>
            <a:endParaRPr dirty="0"/>
          </a:p>
        </p:txBody>
      </p:sp>
      <p:graphicFrame>
        <p:nvGraphicFramePr>
          <p:cNvPr id="5" name="Taulukko 4">
            <a:extLst>
              <a:ext uri="{FF2B5EF4-FFF2-40B4-BE49-F238E27FC236}">
                <a16:creationId xmlns:a16="http://schemas.microsoft.com/office/drawing/2014/main" id="{5E71A262-6648-6323-2E9E-A154D6792E11}"/>
              </a:ext>
            </a:extLst>
          </p:cNvPr>
          <p:cNvGraphicFramePr>
            <a:graphicFrameLocks noGrp="1"/>
          </p:cNvGraphicFramePr>
          <p:nvPr/>
        </p:nvGraphicFramePr>
        <p:xfrm>
          <a:off x="290414" y="1629607"/>
          <a:ext cx="5475644" cy="184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718">
                  <a:extLst>
                    <a:ext uri="{9D8B030D-6E8A-4147-A177-3AD203B41FA5}">
                      <a16:colId xmlns:a16="http://schemas.microsoft.com/office/drawing/2014/main" val="2028920960"/>
                    </a:ext>
                  </a:extLst>
                </a:gridCol>
                <a:gridCol w="1117336">
                  <a:extLst>
                    <a:ext uri="{9D8B030D-6E8A-4147-A177-3AD203B41FA5}">
                      <a16:colId xmlns:a16="http://schemas.microsoft.com/office/drawing/2014/main" val="1800458026"/>
                    </a:ext>
                  </a:extLst>
                </a:gridCol>
                <a:gridCol w="1359017">
                  <a:extLst>
                    <a:ext uri="{9D8B030D-6E8A-4147-A177-3AD203B41FA5}">
                      <a16:colId xmlns:a16="http://schemas.microsoft.com/office/drawing/2014/main" val="536802289"/>
                    </a:ext>
                  </a:extLst>
                </a:gridCol>
                <a:gridCol w="1322573">
                  <a:extLst>
                    <a:ext uri="{9D8B030D-6E8A-4147-A177-3AD203B41FA5}">
                      <a16:colId xmlns:a16="http://schemas.microsoft.com/office/drawing/2014/main" val="1012551724"/>
                    </a:ext>
                  </a:extLst>
                </a:gridCol>
              </a:tblGrid>
              <a:tr h="31682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/>
                        <a:t>GREENING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/>
                        <a:t>DIGITALIZATION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/>
                        <a:t>INNOVATION</a:t>
                      </a: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28914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b="1">
                          <a:solidFill>
                            <a:schemeClr val="accent1"/>
                          </a:solidFill>
                        </a:rPr>
                        <a:t>STUDENTS</a:t>
                      </a:r>
                      <a:endParaRPr lang="en-US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chemeClr val="accent1"/>
                          </a:solidFill>
                        </a:rPr>
                        <a:t>4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chemeClr val="accent1"/>
                          </a:solidFill>
                        </a:rPr>
                        <a:t>79%</a:t>
                      </a:r>
                      <a:endParaRPr lang="en-US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chemeClr val="accent1"/>
                          </a:solidFill>
                        </a:rPr>
                        <a:t>47%</a:t>
                      </a:r>
                      <a:endParaRPr lang="en-US" b="1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6814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b="1">
                          <a:solidFill>
                            <a:srgbClr val="C00000"/>
                          </a:solidFill>
                        </a:rPr>
                        <a:t>TEACHERS</a:t>
                      </a:r>
                      <a:endParaRPr lang="en-US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rgbClr val="C00000"/>
                          </a:solidFill>
                        </a:rPr>
                        <a:t>74%</a:t>
                      </a:r>
                      <a:endParaRPr lang="en-US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rgbClr val="C00000"/>
                          </a:solidFill>
                        </a:rPr>
                        <a:t>86%</a:t>
                      </a:r>
                      <a:endParaRPr lang="en-US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rgbClr val="C00000"/>
                          </a:solidFill>
                        </a:rPr>
                        <a:t>52%</a:t>
                      </a:r>
                      <a:endParaRPr lang="en-US" b="1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8676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b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MANAGEMENT</a:t>
                      </a:r>
                      <a:endParaRPr lang="en-US" b="1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83%</a:t>
                      </a:r>
                      <a:endParaRPr lang="en-US" b="1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91%</a:t>
                      </a:r>
                      <a:endParaRPr lang="en-US" b="1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63%</a:t>
                      </a:r>
                      <a:endParaRPr lang="en-US" b="1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171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b="1">
                          <a:solidFill>
                            <a:srgbClr val="FFC000"/>
                          </a:solidFill>
                        </a:rPr>
                        <a:t>STAKEHOLDERS</a:t>
                      </a:r>
                      <a:endParaRPr lang="en-US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rgbClr val="FFC000"/>
                          </a:solidFill>
                        </a:rPr>
                        <a:t>88%</a:t>
                      </a:r>
                      <a:endParaRPr lang="en-US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rgbClr val="FFC000"/>
                          </a:solidFill>
                        </a:rPr>
                        <a:t>87%</a:t>
                      </a:r>
                      <a:endParaRPr lang="en-US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>
                          <a:solidFill>
                            <a:srgbClr val="FFC000"/>
                          </a:solidFill>
                        </a:rPr>
                        <a:t>54%</a:t>
                      </a:r>
                      <a:endParaRPr lang="en-US" b="1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7263216"/>
                  </a:ext>
                </a:extLst>
              </a:tr>
            </a:tbl>
          </a:graphicData>
        </a:graphic>
      </p:graphicFrame>
      <p:sp>
        <p:nvSpPr>
          <p:cNvPr id="8" name="Google Shape;154;g281b3a7bbb6_0_0">
            <a:extLst>
              <a:ext uri="{FF2B5EF4-FFF2-40B4-BE49-F238E27FC236}">
                <a16:creationId xmlns:a16="http://schemas.microsoft.com/office/drawing/2014/main" id="{AFAE12CE-9F63-AA0D-DCE3-35F77A24AB8E}"/>
              </a:ext>
            </a:extLst>
          </p:cNvPr>
          <p:cNvSpPr txBox="1">
            <a:spLocks/>
          </p:cNvSpPr>
          <p:nvPr/>
        </p:nvSpPr>
        <p:spPr>
          <a:xfrm>
            <a:off x="5029062" y="5259482"/>
            <a:ext cx="185668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fi-FI" sz="2000" dirty="0"/>
              <a:t>Innovation</a:t>
            </a:r>
          </a:p>
        </p:txBody>
      </p:sp>
      <p:sp>
        <p:nvSpPr>
          <p:cNvPr id="9" name="Google Shape;154;g281b3a7bbb6_0_0">
            <a:extLst>
              <a:ext uri="{FF2B5EF4-FFF2-40B4-BE49-F238E27FC236}">
                <a16:creationId xmlns:a16="http://schemas.microsoft.com/office/drawing/2014/main" id="{A0CF201F-D899-6920-4CC1-307AEDB77562}"/>
              </a:ext>
            </a:extLst>
          </p:cNvPr>
          <p:cNvSpPr txBox="1">
            <a:spLocks/>
          </p:cNvSpPr>
          <p:nvPr/>
        </p:nvSpPr>
        <p:spPr>
          <a:xfrm>
            <a:off x="9623570" y="5259482"/>
            <a:ext cx="244818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fi-FI" sz="2000" dirty="0" err="1"/>
              <a:t>Digitalization</a:t>
            </a:r>
            <a:endParaRPr lang="fi-FI" sz="2000" dirty="0"/>
          </a:p>
        </p:txBody>
      </p:sp>
      <p:sp>
        <p:nvSpPr>
          <p:cNvPr id="10" name="Google Shape;154;g281b3a7bbb6_0_0">
            <a:extLst>
              <a:ext uri="{FF2B5EF4-FFF2-40B4-BE49-F238E27FC236}">
                <a16:creationId xmlns:a16="http://schemas.microsoft.com/office/drawing/2014/main" id="{5B0A9861-8F7E-86A1-582D-87A377DDE6C9}"/>
              </a:ext>
            </a:extLst>
          </p:cNvPr>
          <p:cNvSpPr txBox="1">
            <a:spLocks/>
          </p:cNvSpPr>
          <p:nvPr/>
        </p:nvSpPr>
        <p:spPr>
          <a:xfrm>
            <a:off x="8990977" y="608855"/>
            <a:ext cx="1856687" cy="63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0"/>
              </a:buClr>
              <a:buSzPts val="2800"/>
              <a:buFont typeface="Open Sans ExtraBold"/>
              <a:buNone/>
              <a:defRPr sz="2800" b="1" i="0" u="none" strike="noStrike" cap="none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fi-FI" sz="2000" dirty="0" err="1"/>
              <a:t>Greening</a:t>
            </a:r>
            <a:endParaRPr lang="fi-FI" sz="2000" dirty="0"/>
          </a:p>
        </p:txBody>
      </p:sp>
      <p:sp>
        <p:nvSpPr>
          <p:cNvPr id="2" name="Google Shape;139;p5">
            <a:extLst>
              <a:ext uri="{FF2B5EF4-FFF2-40B4-BE49-F238E27FC236}">
                <a16:creationId xmlns:a16="http://schemas.microsoft.com/office/drawing/2014/main" id="{DF90E6CE-E2AE-31BB-E43A-03452C194306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748" y="425585"/>
            <a:ext cx="11884914" cy="439302"/>
          </a:xfrm>
        </p:spPr>
        <p:txBody>
          <a:bodyPr/>
          <a:lstStyle/>
          <a:p>
            <a:r>
              <a:rPr lang="en-US" dirty="0"/>
              <a:t>SOME KEY ELEMENTS OF SUCCESS FOR VET EXCELLENC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2A1FBFD-2855-46B6-AAD4-2056816C7DB0}"/>
              </a:ext>
            </a:extLst>
          </p:cNvPr>
          <p:cNvGrpSpPr/>
          <p:nvPr/>
        </p:nvGrpSpPr>
        <p:grpSpPr>
          <a:xfrm>
            <a:off x="2751555" y="1167417"/>
            <a:ext cx="6816399" cy="4859366"/>
            <a:chOff x="2751914" y="1161004"/>
            <a:chExt cx="6817287" cy="4859999"/>
          </a:xfrm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D120E35A-CF8A-364A-AD1B-5692D1D0D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4709" y="2102251"/>
              <a:ext cx="4139944" cy="196223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44450"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F49E76A8-F94D-3545-B4D1-68E03E02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4710" y="4058769"/>
              <a:ext cx="4139944" cy="19622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44450"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025AF0B4-0DC4-2842-A93F-E38EB5A5123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944181" y="1904270"/>
              <a:ext cx="1962233" cy="2346768"/>
            </a:xfrm>
            <a:custGeom>
              <a:avLst/>
              <a:gdLst>
                <a:gd name="T0" fmla="*/ 590 w 590"/>
                <a:gd name="T1" fmla="*/ 4 h 634"/>
                <a:gd name="T2" fmla="*/ 349 w 590"/>
                <a:gd name="T3" fmla="*/ 4 h 634"/>
                <a:gd name="T4" fmla="*/ 347 w 590"/>
                <a:gd name="T5" fmla="*/ 46 h 634"/>
                <a:gd name="T6" fmla="*/ 347 w 590"/>
                <a:gd name="T7" fmla="*/ 46 h 634"/>
                <a:gd name="T8" fmla="*/ 355 w 590"/>
                <a:gd name="T9" fmla="*/ 52 h 634"/>
                <a:gd name="T10" fmla="*/ 366 w 590"/>
                <a:gd name="T11" fmla="*/ 59 h 634"/>
                <a:gd name="T12" fmla="*/ 377 w 590"/>
                <a:gd name="T13" fmla="*/ 67 h 634"/>
                <a:gd name="T14" fmla="*/ 387 w 590"/>
                <a:gd name="T15" fmla="*/ 78 h 634"/>
                <a:gd name="T16" fmla="*/ 396 w 590"/>
                <a:gd name="T17" fmla="*/ 90 h 634"/>
                <a:gd name="T18" fmla="*/ 403 w 590"/>
                <a:gd name="T19" fmla="*/ 105 h 634"/>
                <a:gd name="T20" fmla="*/ 406 w 590"/>
                <a:gd name="T21" fmla="*/ 115 h 634"/>
                <a:gd name="T22" fmla="*/ 409 w 590"/>
                <a:gd name="T23" fmla="*/ 123 h 634"/>
                <a:gd name="T24" fmla="*/ 410 w 590"/>
                <a:gd name="T25" fmla="*/ 134 h 634"/>
                <a:gd name="T26" fmla="*/ 410 w 590"/>
                <a:gd name="T27" fmla="*/ 143 h 634"/>
                <a:gd name="T28" fmla="*/ 410 w 590"/>
                <a:gd name="T29" fmla="*/ 143 h 634"/>
                <a:gd name="T30" fmla="*/ 409 w 590"/>
                <a:gd name="T31" fmla="*/ 153 h 634"/>
                <a:gd name="T32" fmla="*/ 407 w 590"/>
                <a:gd name="T33" fmla="*/ 162 h 634"/>
                <a:gd name="T34" fmla="*/ 403 w 590"/>
                <a:gd name="T35" fmla="*/ 170 h 634"/>
                <a:gd name="T36" fmla="*/ 399 w 590"/>
                <a:gd name="T37" fmla="*/ 179 h 634"/>
                <a:gd name="T38" fmla="*/ 395 w 590"/>
                <a:gd name="T39" fmla="*/ 187 h 634"/>
                <a:gd name="T40" fmla="*/ 388 w 590"/>
                <a:gd name="T41" fmla="*/ 195 h 634"/>
                <a:gd name="T42" fmla="*/ 381 w 590"/>
                <a:gd name="T43" fmla="*/ 202 h 634"/>
                <a:gd name="T44" fmla="*/ 374 w 590"/>
                <a:gd name="T45" fmla="*/ 207 h 634"/>
                <a:gd name="T46" fmla="*/ 365 w 590"/>
                <a:gd name="T47" fmla="*/ 214 h 634"/>
                <a:gd name="T48" fmla="*/ 357 w 590"/>
                <a:gd name="T49" fmla="*/ 218 h 634"/>
                <a:gd name="T50" fmla="*/ 347 w 590"/>
                <a:gd name="T51" fmla="*/ 224 h 634"/>
                <a:gd name="T52" fmla="*/ 336 w 590"/>
                <a:gd name="T53" fmla="*/ 226 h 634"/>
                <a:gd name="T54" fmla="*/ 325 w 590"/>
                <a:gd name="T55" fmla="*/ 230 h 634"/>
                <a:gd name="T56" fmla="*/ 314 w 590"/>
                <a:gd name="T57" fmla="*/ 232 h 634"/>
                <a:gd name="T58" fmla="*/ 302 w 590"/>
                <a:gd name="T59" fmla="*/ 233 h 634"/>
                <a:gd name="T60" fmla="*/ 290 w 590"/>
                <a:gd name="T61" fmla="*/ 235 h 634"/>
                <a:gd name="T62" fmla="*/ 290 w 590"/>
                <a:gd name="T63" fmla="*/ 235 h 634"/>
                <a:gd name="T64" fmla="*/ 279 w 590"/>
                <a:gd name="T65" fmla="*/ 233 h 634"/>
                <a:gd name="T66" fmla="*/ 267 w 590"/>
                <a:gd name="T67" fmla="*/ 232 h 634"/>
                <a:gd name="T68" fmla="*/ 257 w 590"/>
                <a:gd name="T69" fmla="*/ 229 h 634"/>
                <a:gd name="T70" fmla="*/ 246 w 590"/>
                <a:gd name="T71" fmla="*/ 225 h 634"/>
                <a:gd name="T72" fmla="*/ 238 w 590"/>
                <a:gd name="T73" fmla="*/ 221 h 634"/>
                <a:gd name="T74" fmla="*/ 229 w 590"/>
                <a:gd name="T75" fmla="*/ 215 h 634"/>
                <a:gd name="T76" fmla="*/ 222 w 590"/>
                <a:gd name="T77" fmla="*/ 209 h 634"/>
                <a:gd name="T78" fmla="*/ 215 w 590"/>
                <a:gd name="T79" fmla="*/ 202 h 634"/>
                <a:gd name="T80" fmla="*/ 208 w 590"/>
                <a:gd name="T81" fmla="*/ 195 h 634"/>
                <a:gd name="T82" fmla="*/ 204 w 590"/>
                <a:gd name="T83" fmla="*/ 187 h 634"/>
                <a:gd name="T84" fmla="*/ 199 w 590"/>
                <a:gd name="T85" fmla="*/ 179 h 634"/>
                <a:gd name="T86" fmla="*/ 196 w 590"/>
                <a:gd name="T87" fmla="*/ 170 h 634"/>
                <a:gd name="T88" fmla="*/ 192 w 590"/>
                <a:gd name="T89" fmla="*/ 161 h 634"/>
                <a:gd name="T90" fmla="*/ 190 w 590"/>
                <a:gd name="T91" fmla="*/ 153 h 634"/>
                <a:gd name="T92" fmla="*/ 189 w 590"/>
                <a:gd name="T93" fmla="*/ 143 h 634"/>
                <a:gd name="T94" fmla="*/ 189 w 590"/>
                <a:gd name="T95" fmla="*/ 134 h 634"/>
                <a:gd name="T96" fmla="*/ 189 w 590"/>
                <a:gd name="T97" fmla="*/ 134 h 634"/>
                <a:gd name="T98" fmla="*/ 190 w 590"/>
                <a:gd name="T99" fmla="*/ 120 h 634"/>
                <a:gd name="T100" fmla="*/ 194 w 590"/>
                <a:gd name="T101" fmla="*/ 106 h 634"/>
                <a:gd name="T102" fmla="*/ 200 w 590"/>
                <a:gd name="T103" fmla="*/ 94 h 634"/>
                <a:gd name="T104" fmla="*/ 208 w 590"/>
                <a:gd name="T105" fmla="*/ 83 h 634"/>
                <a:gd name="T106" fmla="*/ 216 w 590"/>
                <a:gd name="T107" fmla="*/ 74 h 634"/>
                <a:gd name="T108" fmla="*/ 224 w 590"/>
                <a:gd name="T109" fmla="*/ 65 h 634"/>
                <a:gd name="T110" fmla="*/ 238 w 590"/>
                <a:gd name="T111" fmla="*/ 53 h 634"/>
                <a:gd name="T112" fmla="*/ 238 w 590"/>
                <a:gd name="T113" fmla="*/ 0 h 634"/>
                <a:gd name="T114" fmla="*/ 0 w 590"/>
                <a:gd name="T115" fmla="*/ 0 h 634"/>
                <a:gd name="T116" fmla="*/ 0 w 590"/>
                <a:gd name="T117" fmla="*/ 634 h 634"/>
                <a:gd name="T118" fmla="*/ 590 w 590"/>
                <a:gd name="T119" fmla="*/ 634 h 634"/>
                <a:gd name="T120" fmla="*/ 590 w 590"/>
                <a:gd name="T121" fmla="*/ 4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0" h="634">
                  <a:moveTo>
                    <a:pt x="590" y="4"/>
                  </a:moveTo>
                  <a:lnTo>
                    <a:pt x="349" y="4"/>
                  </a:lnTo>
                  <a:lnTo>
                    <a:pt x="347" y="46"/>
                  </a:lnTo>
                  <a:lnTo>
                    <a:pt x="347" y="46"/>
                  </a:lnTo>
                  <a:lnTo>
                    <a:pt x="355" y="52"/>
                  </a:lnTo>
                  <a:lnTo>
                    <a:pt x="366" y="59"/>
                  </a:lnTo>
                  <a:lnTo>
                    <a:pt x="377" y="67"/>
                  </a:lnTo>
                  <a:lnTo>
                    <a:pt x="387" y="78"/>
                  </a:lnTo>
                  <a:lnTo>
                    <a:pt x="396" y="90"/>
                  </a:lnTo>
                  <a:lnTo>
                    <a:pt x="403" y="105"/>
                  </a:lnTo>
                  <a:lnTo>
                    <a:pt x="406" y="115"/>
                  </a:lnTo>
                  <a:lnTo>
                    <a:pt x="409" y="123"/>
                  </a:lnTo>
                  <a:lnTo>
                    <a:pt x="410" y="134"/>
                  </a:lnTo>
                  <a:lnTo>
                    <a:pt x="410" y="143"/>
                  </a:lnTo>
                  <a:lnTo>
                    <a:pt x="410" y="143"/>
                  </a:lnTo>
                  <a:lnTo>
                    <a:pt x="409" y="153"/>
                  </a:lnTo>
                  <a:lnTo>
                    <a:pt x="407" y="162"/>
                  </a:lnTo>
                  <a:lnTo>
                    <a:pt x="403" y="170"/>
                  </a:lnTo>
                  <a:lnTo>
                    <a:pt x="399" y="179"/>
                  </a:lnTo>
                  <a:lnTo>
                    <a:pt x="395" y="187"/>
                  </a:lnTo>
                  <a:lnTo>
                    <a:pt x="388" y="195"/>
                  </a:lnTo>
                  <a:lnTo>
                    <a:pt x="381" y="202"/>
                  </a:lnTo>
                  <a:lnTo>
                    <a:pt x="374" y="207"/>
                  </a:lnTo>
                  <a:lnTo>
                    <a:pt x="365" y="214"/>
                  </a:lnTo>
                  <a:lnTo>
                    <a:pt x="357" y="218"/>
                  </a:lnTo>
                  <a:lnTo>
                    <a:pt x="347" y="224"/>
                  </a:lnTo>
                  <a:lnTo>
                    <a:pt x="336" y="226"/>
                  </a:lnTo>
                  <a:lnTo>
                    <a:pt x="325" y="230"/>
                  </a:lnTo>
                  <a:lnTo>
                    <a:pt x="314" y="232"/>
                  </a:lnTo>
                  <a:lnTo>
                    <a:pt x="302" y="233"/>
                  </a:lnTo>
                  <a:lnTo>
                    <a:pt x="290" y="235"/>
                  </a:lnTo>
                  <a:lnTo>
                    <a:pt x="290" y="235"/>
                  </a:lnTo>
                  <a:lnTo>
                    <a:pt x="279" y="233"/>
                  </a:lnTo>
                  <a:lnTo>
                    <a:pt x="267" y="232"/>
                  </a:lnTo>
                  <a:lnTo>
                    <a:pt x="257" y="229"/>
                  </a:lnTo>
                  <a:lnTo>
                    <a:pt x="246" y="225"/>
                  </a:lnTo>
                  <a:lnTo>
                    <a:pt x="238" y="221"/>
                  </a:lnTo>
                  <a:lnTo>
                    <a:pt x="229" y="215"/>
                  </a:lnTo>
                  <a:lnTo>
                    <a:pt x="222" y="209"/>
                  </a:lnTo>
                  <a:lnTo>
                    <a:pt x="215" y="202"/>
                  </a:lnTo>
                  <a:lnTo>
                    <a:pt x="208" y="195"/>
                  </a:lnTo>
                  <a:lnTo>
                    <a:pt x="204" y="187"/>
                  </a:lnTo>
                  <a:lnTo>
                    <a:pt x="199" y="179"/>
                  </a:lnTo>
                  <a:lnTo>
                    <a:pt x="196" y="170"/>
                  </a:lnTo>
                  <a:lnTo>
                    <a:pt x="192" y="161"/>
                  </a:lnTo>
                  <a:lnTo>
                    <a:pt x="190" y="153"/>
                  </a:lnTo>
                  <a:lnTo>
                    <a:pt x="189" y="143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90" y="120"/>
                  </a:lnTo>
                  <a:lnTo>
                    <a:pt x="194" y="106"/>
                  </a:lnTo>
                  <a:lnTo>
                    <a:pt x="200" y="94"/>
                  </a:lnTo>
                  <a:lnTo>
                    <a:pt x="208" y="83"/>
                  </a:lnTo>
                  <a:lnTo>
                    <a:pt x="216" y="74"/>
                  </a:lnTo>
                  <a:lnTo>
                    <a:pt x="224" y="65"/>
                  </a:lnTo>
                  <a:lnTo>
                    <a:pt x="238" y="53"/>
                  </a:lnTo>
                  <a:lnTo>
                    <a:pt x="238" y="0"/>
                  </a:lnTo>
                  <a:lnTo>
                    <a:pt x="0" y="0"/>
                  </a:lnTo>
                  <a:lnTo>
                    <a:pt x="0" y="634"/>
                  </a:lnTo>
                  <a:lnTo>
                    <a:pt x="590" y="634"/>
                  </a:lnTo>
                  <a:lnTo>
                    <a:pt x="590" y="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44450"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A27E29F1-2494-5F49-853B-032EDDA0AD0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944181" y="3866503"/>
              <a:ext cx="1962233" cy="2346768"/>
            </a:xfrm>
            <a:custGeom>
              <a:avLst/>
              <a:gdLst>
                <a:gd name="T0" fmla="*/ 590 w 590"/>
                <a:gd name="T1" fmla="*/ 4 h 634"/>
                <a:gd name="T2" fmla="*/ 349 w 590"/>
                <a:gd name="T3" fmla="*/ 4 h 634"/>
                <a:gd name="T4" fmla="*/ 347 w 590"/>
                <a:gd name="T5" fmla="*/ 46 h 634"/>
                <a:gd name="T6" fmla="*/ 347 w 590"/>
                <a:gd name="T7" fmla="*/ 46 h 634"/>
                <a:gd name="T8" fmla="*/ 355 w 590"/>
                <a:gd name="T9" fmla="*/ 52 h 634"/>
                <a:gd name="T10" fmla="*/ 366 w 590"/>
                <a:gd name="T11" fmla="*/ 59 h 634"/>
                <a:gd name="T12" fmla="*/ 377 w 590"/>
                <a:gd name="T13" fmla="*/ 67 h 634"/>
                <a:gd name="T14" fmla="*/ 387 w 590"/>
                <a:gd name="T15" fmla="*/ 78 h 634"/>
                <a:gd name="T16" fmla="*/ 396 w 590"/>
                <a:gd name="T17" fmla="*/ 90 h 634"/>
                <a:gd name="T18" fmla="*/ 403 w 590"/>
                <a:gd name="T19" fmla="*/ 105 h 634"/>
                <a:gd name="T20" fmla="*/ 406 w 590"/>
                <a:gd name="T21" fmla="*/ 115 h 634"/>
                <a:gd name="T22" fmla="*/ 409 w 590"/>
                <a:gd name="T23" fmla="*/ 123 h 634"/>
                <a:gd name="T24" fmla="*/ 410 w 590"/>
                <a:gd name="T25" fmla="*/ 134 h 634"/>
                <a:gd name="T26" fmla="*/ 410 w 590"/>
                <a:gd name="T27" fmla="*/ 143 h 634"/>
                <a:gd name="T28" fmla="*/ 410 w 590"/>
                <a:gd name="T29" fmla="*/ 143 h 634"/>
                <a:gd name="T30" fmla="*/ 409 w 590"/>
                <a:gd name="T31" fmla="*/ 153 h 634"/>
                <a:gd name="T32" fmla="*/ 407 w 590"/>
                <a:gd name="T33" fmla="*/ 162 h 634"/>
                <a:gd name="T34" fmla="*/ 403 w 590"/>
                <a:gd name="T35" fmla="*/ 170 h 634"/>
                <a:gd name="T36" fmla="*/ 399 w 590"/>
                <a:gd name="T37" fmla="*/ 179 h 634"/>
                <a:gd name="T38" fmla="*/ 395 w 590"/>
                <a:gd name="T39" fmla="*/ 187 h 634"/>
                <a:gd name="T40" fmla="*/ 388 w 590"/>
                <a:gd name="T41" fmla="*/ 195 h 634"/>
                <a:gd name="T42" fmla="*/ 381 w 590"/>
                <a:gd name="T43" fmla="*/ 202 h 634"/>
                <a:gd name="T44" fmla="*/ 374 w 590"/>
                <a:gd name="T45" fmla="*/ 207 h 634"/>
                <a:gd name="T46" fmla="*/ 365 w 590"/>
                <a:gd name="T47" fmla="*/ 214 h 634"/>
                <a:gd name="T48" fmla="*/ 357 w 590"/>
                <a:gd name="T49" fmla="*/ 218 h 634"/>
                <a:gd name="T50" fmla="*/ 347 w 590"/>
                <a:gd name="T51" fmla="*/ 224 h 634"/>
                <a:gd name="T52" fmla="*/ 336 w 590"/>
                <a:gd name="T53" fmla="*/ 226 h 634"/>
                <a:gd name="T54" fmla="*/ 325 w 590"/>
                <a:gd name="T55" fmla="*/ 230 h 634"/>
                <a:gd name="T56" fmla="*/ 314 w 590"/>
                <a:gd name="T57" fmla="*/ 232 h 634"/>
                <a:gd name="T58" fmla="*/ 302 w 590"/>
                <a:gd name="T59" fmla="*/ 233 h 634"/>
                <a:gd name="T60" fmla="*/ 290 w 590"/>
                <a:gd name="T61" fmla="*/ 235 h 634"/>
                <a:gd name="T62" fmla="*/ 290 w 590"/>
                <a:gd name="T63" fmla="*/ 235 h 634"/>
                <a:gd name="T64" fmla="*/ 279 w 590"/>
                <a:gd name="T65" fmla="*/ 233 h 634"/>
                <a:gd name="T66" fmla="*/ 267 w 590"/>
                <a:gd name="T67" fmla="*/ 232 h 634"/>
                <a:gd name="T68" fmla="*/ 257 w 590"/>
                <a:gd name="T69" fmla="*/ 229 h 634"/>
                <a:gd name="T70" fmla="*/ 246 w 590"/>
                <a:gd name="T71" fmla="*/ 225 h 634"/>
                <a:gd name="T72" fmla="*/ 238 w 590"/>
                <a:gd name="T73" fmla="*/ 221 h 634"/>
                <a:gd name="T74" fmla="*/ 229 w 590"/>
                <a:gd name="T75" fmla="*/ 215 h 634"/>
                <a:gd name="T76" fmla="*/ 222 w 590"/>
                <a:gd name="T77" fmla="*/ 209 h 634"/>
                <a:gd name="T78" fmla="*/ 215 w 590"/>
                <a:gd name="T79" fmla="*/ 202 h 634"/>
                <a:gd name="T80" fmla="*/ 208 w 590"/>
                <a:gd name="T81" fmla="*/ 195 h 634"/>
                <a:gd name="T82" fmla="*/ 204 w 590"/>
                <a:gd name="T83" fmla="*/ 187 h 634"/>
                <a:gd name="T84" fmla="*/ 199 w 590"/>
                <a:gd name="T85" fmla="*/ 179 h 634"/>
                <a:gd name="T86" fmla="*/ 196 w 590"/>
                <a:gd name="T87" fmla="*/ 170 h 634"/>
                <a:gd name="T88" fmla="*/ 192 w 590"/>
                <a:gd name="T89" fmla="*/ 161 h 634"/>
                <a:gd name="T90" fmla="*/ 190 w 590"/>
                <a:gd name="T91" fmla="*/ 153 h 634"/>
                <a:gd name="T92" fmla="*/ 189 w 590"/>
                <a:gd name="T93" fmla="*/ 143 h 634"/>
                <a:gd name="T94" fmla="*/ 189 w 590"/>
                <a:gd name="T95" fmla="*/ 134 h 634"/>
                <a:gd name="T96" fmla="*/ 189 w 590"/>
                <a:gd name="T97" fmla="*/ 134 h 634"/>
                <a:gd name="T98" fmla="*/ 190 w 590"/>
                <a:gd name="T99" fmla="*/ 120 h 634"/>
                <a:gd name="T100" fmla="*/ 194 w 590"/>
                <a:gd name="T101" fmla="*/ 106 h 634"/>
                <a:gd name="T102" fmla="*/ 200 w 590"/>
                <a:gd name="T103" fmla="*/ 94 h 634"/>
                <a:gd name="T104" fmla="*/ 208 w 590"/>
                <a:gd name="T105" fmla="*/ 83 h 634"/>
                <a:gd name="T106" fmla="*/ 216 w 590"/>
                <a:gd name="T107" fmla="*/ 74 h 634"/>
                <a:gd name="T108" fmla="*/ 224 w 590"/>
                <a:gd name="T109" fmla="*/ 65 h 634"/>
                <a:gd name="T110" fmla="*/ 238 w 590"/>
                <a:gd name="T111" fmla="*/ 53 h 634"/>
                <a:gd name="T112" fmla="*/ 238 w 590"/>
                <a:gd name="T113" fmla="*/ 0 h 634"/>
                <a:gd name="T114" fmla="*/ 0 w 590"/>
                <a:gd name="T115" fmla="*/ 0 h 634"/>
                <a:gd name="T116" fmla="*/ 0 w 590"/>
                <a:gd name="T117" fmla="*/ 634 h 634"/>
                <a:gd name="T118" fmla="*/ 590 w 590"/>
                <a:gd name="T119" fmla="*/ 634 h 634"/>
                <a:gd name="T120" fmla="*/ 590 w 590"/>
                <a:gd name="T121" fmla="*/ 4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0" h="634">
                  <a:moveTo>
                    <a:pt x="590" y="4"/>
                  </a:moveTo>
                  <a:lnTo>
                    <a:pt x="349" y="4"/>
                  </a:lnTo>
                  <a:lnTo>
                    <a:pt x="347" y="46"/>
                  </a:lnTo>
                  <a:lnTo>
                    <a:pt x="347" y="46"/>
                  </a:lnTo>
                  <a:lnTo>
                    <a:pt x="355" y="52"/>
                  </a:lnTo>
                  <a:lnTo>
                    <a:pt x="366" y="59"/>
                  </a:lnTo>
                  <a:lnTo>
                    <a:pt x="377" y="67"/>
                  </a:lnTo>
                  <a:lnTo>
                    <a:pt x="387" y="78"/>
                  </a:lnTo>
                  <a:lnTo>
                    <a:pt x="396" y="90"/>
                  </a:lnTo>
                  <a:lnTo>
                    <a:pt x="403" y="105"/>
                  </a:lnTo>
                  <a:lnTo>
                    <a:pt x="406" y="115"/>
                  </a:lnTo>
                  <a:lnTo>
                    <a:pt x="409" y="123"/>
                  </a:lnTo>
                  <a:lnTo>
                    <a:pt x="410" y="134"/>
                  </a:lnTo>
                  <a:lnTo>
                    <a:pt x="410" y="143"/>
                  </a:lnTo>
                  <a:lnTo>
                    <a:pt x="410" y="143"/>
                  </a:lnTo>
                  <a:lnTo>
                    <a:pt x="409" y="153"/>
                  </a:lnTo>
                  <a:lnTo>
                    <a:pt x="407" y="162"/>
                  </a:lnTo>
                  <a:lnTo>
                    <a:pt x="403" y="170"/>
                  </a:lnTo>
                  <a:lnTo>
                    <a:pt x="399" y="179"/>
                  </a:lnTo>
                  <a:lnTo>
                    <a:pt x="395" y="187"/>
                  </a:lnTo>
                  <a:lnTo>
                    <a:pt x="388" y="195"/>
                  </a:lnTo>
                  <a:lnTo>
                    <a:pt x="381" y="202"/>
                  </a:lnTo>
                  <a:lnTo>
                    <a:pt x="374" y="207"/>
                  </a:lnTo>
                  <a:lnTo>
                    <a:pt x="365" y="214"/>
                  </a:lnTo>
                  <a:lnTo>
                    <a:pt x="357" y="218"/>
                  </a:lnTo>
                  <a:lnTo>
                    <a:pt x="347" y="224"/>
                  </a:lnTo>
                  <a:lnTo>
                    <a:pt x="336" y="226"/>
                  </a:lnTo>
                  <a:lnTo>
                    <a:pt x="325" y="230"/>
                  </a:lnTo>
                  <a:lnTo>
                    <a:pt x="314" y="232"/>
                  </a:lnTo>
                  <a:lnTo>
                    <a:pt x="302" y="233"/>
                  </a:lnTo>
                  <a:lnTo>
                    <a:pt x="290" y="235"/>
                  </a:lnTo>
                  <a:lnTo>
                    <a:pt x="290" y="235"/>
                  </a:lnTo>
                  <a:lnTo>
                    <a:pt x="279" y="233"/>
                  </a:lnTo>
                  <a:lnTo>
                    <a:pt x="267" y="232"/>
                  </a:lnTo>
                  <a:lnTo>
                    <a:pt x="257" y="229"/>
                  </a:lnTo>
                  <a:lnTo>
                    <a:pt x="246" y="225"/>
                  </a:lnTo>
                  <a:lnTo>
                    <a:pt x="238" y="221"/>
                  </a:lnTo>
                  <a:lnTo>
                    <a:pt x="229" y="215"/>
                  </a:lnTo>
                  <a:lnTo>
                    <a:pt x="222" y="209"/>
                  </a:lnTo>
                  <a:lnTo>
                    <a:pt x="215" y="202"/>
                  </a:lnTo>
                  <a:lnTo>
                    <a:pt x="208" y="195"/>
                  </a:lnTo>
                  <a:lnTo>
                    <a:pt x="204" y="187"/>
                  </a:lnTo>
                  <a:lnTo>
                    <a:pt x="199" y="179"/>
                  </a:lnTo>
                  <a:lnTo>
                    <a:pt x="196" y="170"/>
                  </a:lnTo>
                  <a:lnTo>
                    <a:pt x="192" y="161"/>
                  </a:lnTo>
                  <a:lnTo>
                    <a:pt x="190" y="153"/>
                  </a:lnTo>
                  <a:lnTo>
                    <a:pt x="189" y="143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90" y="120"/>
                  </a:lnTo>
                  <a:lnTo>
                    <a:pt x="194" y="106"/>
                  </a:lnTo>
                  <a:lnTo>
                    <a:pt x="200" y="94"/>
                  </a:lnTo>
                  <a:lnTo>
                    <a:pt x="208" y="83"/>
                  </a:lnTo>
                  <a:lnTo>
                    <a:pt x="216" y="74"/>
                  </a:lnTo>
                  <a:lnTo>
                    <a:pt x="224" y="65"/>
                  </a:lnTo>
                  <a:lnTo>
                    <a:pt x="238" y="53"/>
                  </a:lnTo>
                  <a:lnTo>
                    <a:pt x="238" y="0"/>
                  </a:lnTo>
                  <a:lnTo>
                    <a:pt x="0" y="0"/>
                  </a:lnTo>
                  <a:lnTo>
                    <a:pt x="0" y="634"/>
                  </a:lnTo>
                  <a:lnTo>
                    <a:pt x="590" y="634"/>
                  </a:lnTo>
                  <a:lnTo>
                    <a:pt x="590" y="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44450"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7F4154DB-5D56-8246-910C-909387BFB055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7285587" y="1904269"/>
              <a:ext cx="1962233" cy="2346768"/>
            </a:xfrm>
            <a:custGeom>
              <a:avLst/>
              <a:gdLst>
                <a:gd name="T0" fmla="*/ 590 w 590"/>
                <a:gd name="T1" fmla="*/ 4 h 634"/>
                <a:gd name="T2" fmla="*/ 349 w 590"/>
                <a:gd name="T3" fmla="*/ 4 h 634"/>
                <a:gd name="T4" fmla="*/ 347 w 590"/>
                <a:gd name="T5" fmla="*/ 46 h 634"/>
                <a:gd name="T6" fmla="*/ 347 w 590"/>
                <a:gd name="T7" fmla="*/ 46 h 634"/>
                <a:gd name="T8" fmla="*/ 355 w 590"/>
                <a:gd name="T9" fmla="*/ 52 h 634"/>
                <a:gd name="T10" fmla="*/ 366 w 590"/>
                <a:gd name="T11" fmla="*/ 59 h 634"/>
                <a:gd name="T12" fmla="*/ 377 w 590"/>
                <a:gd name="T13" fmla="*/ 67 h 634"/>
                <a:gd name="T14" fmla="*/ 387 w 590"/>
                <a:gd name="T15" fmla="*/ 78 h 634"/>
                <a:gd name="T16" fmla="*/ 396 w 590"/>
                <a:gd name="T17" fmla="*/ 90 h 634"/>
                <a:gd name="T18" fmla="*/ 403 w 590"/>
                <a:gd name="T19" fmla="*/ 105 h 634"/>
                <a:gd name="T20" fmla="*/ 406 w 590"/>
                <a:gd name="T21" fmla="*/ 115 h 634"/>
                <a:gd name="T22" fmla="*/ 409 w 590"/>
                <a:gd name="T23" fmla="*/ 123 h 634"/>
                <a:gd name="T24" fmla="*/ 410 w 590"/>
                <a:gd name="T25" fmla="*/ 134 h 634"/>
                <a:gd name="T26" fmla="*/ 410 w 590"/>
                <a:gd name="T27" fmla="*/ 143 h 634"/>
                <a:gd name="T28" fmla="*/ 410 w 590"/>
                <a:gd name="T29" fmla="*/ 143 h 634"/>
                <a:gd name="T30" fmla="*/ 409 w 590"/>
                <a:gd name="T31" fmla="*/ 153 h 634"/>
                <a:gd name="T32" fmla="*/ 407 w 590"/>
                <a:gd name="T33" fmla="*/ 162 h 634"/>
                <a:gd name="T34" fmla="*/ 403 w 590"/>
                <a:gd name="T35" fmla="*/ 170 h 634"/>
                <a:gd name="T36" fmla="*/ 399 w 590"/>
                <a:gd name="T37" fmla="*/ 179 h 634"/>
                <a:gd name="T38" fmla="*/ 395 w 590"/>
                <a:gd name="T39" fmla="*/ 187 h 634"/>
                <a:gd name="T40" fmla="*/ 388 w 590"/>
                <a:gd name="T41" fmla="*/ 195 h 634"/>
                <a:gd name="T42" fmla="*/ 381 w 590"/>
                <a:gd name="T43" fmla="*/ 202 h 634"/>
                <a:gd name="T44" fmla="*/ 374 w 590"/>
                <a:gd name="T45" fmla="*/ 207 h 634"/>
                <a:gd name="T46" fmla="*/ 365 w 590"/>
                <a:gd name="T47" fmla="*/ 214 h 634"/>
                <a:gd name="T48" fmla="*/ 357 w 590"/>
                <a:gd name="T49" fmla="*/ 218 h 634"/>
                <a:gd name="T50" fmla="*/ 347 w 590"/>
                <a:gd name="T51" fmla="*/ 224 h 634"/>
                <a:gd name="T52" fmla="*/ 336 w 590"/>
                <a:gd name="T53" fmla="*/ 226 h 634"/>
                <a:gd name="T54" fmla="*/ 325 w 590"/>
                <a:gd name="T55" fmla="*/ 230 h 634"/>
                <a:gd name="T56" fmla="*/ 314 w 590"/>
                <a:gd name="T57" fmla="*/ 232 h 634"/>
                <a:gd name="T58" fmla="*/ 302 w 590"/>
                <a:gd name="T59" fmla="*/ 233 h 634"/>
                <a:gd name="T60" fmla="*/ 290 w 590"/>
                <a:gd name="T61" fmla="*/ 235 h 634"/>
                <a:gd name="T62" fmla="*/ 290 w 590"/>
                <a:gd name="T63" fmla="*/ 235 h 634"/>
                <a:gd name="T64" fmla="*/ 279 w 590"/>
                <a:gd name="T65" fmla="*/ 233 h 634"/>
                <a:gd name="T66" fmla="*/ 267 w 590"/>
                <a:gd name="T67" fmla="*/ 232 h 634"/>
                <a:gd name="T68" fmla="*/ 257 w 590"/>
                <a:gd name="T69" fmla="*/ 229 h 634"/>
                <a:gd name="T70" fmla="*/ 246 w 590"/>
                <a:gd name="T71" fmla="*/ 225 h 634"/>
                <a:gd name="T72" fmla="*/ 238 w 590"/>
                <a:gd name="T73" fmla="*/ 221 h 634"/>
                <a:gd name="T74" fmla="*/ 229 w 590"/>
                <a:gd name="T75" fmla="*/ 215 h 634"/>
                <a:gd name="T76" fmla="*/ 222 w 590"/>
                <a:gd name="T77" fmla="*/ 209 h 634"/>
                <a:gd name="T78" fmla="*/ 215 w 590"/>
                <a:gd name="T79" fmla="*/ 202 h 634"/>
                <a:gd name="T80" fmla="*/ 208 w 590"/>
                <a:gd name="T81" fmla="*/ 195 h 634"/>
                <a:gd name="T82" fmla="*/ 204 w 590"/>
                <a:gd name="T83" fmla="*/ 187 h 634"/>
                <a:gd name="T84" fmla="*/ 199 w 590"/>
                <a:gd name="T85" fmla="*/ 179 h 634"/>
                <a:gd name="T86" fmla="*/ 196 w 590"/>
                <a:gd name="T87" fmla="*/ 170 h 634"/>
                <a:gd name="T88" fmla="*/ 192 w 590"/>
                <a:gd name="T89" fmla="*/ 161 h 634"/>
                <a:gd name="T90" fmla="*/ 190 w 590"/>
                <a:gd name="T91" fmla="*/ 153 h 634"/>
                <a:gd name="T92" fmla="*/ 189 w 590"/>
                <a:gd name="T93" fmla="*/ 143 h 634"/>
                <a:gd name="T94" fmla="*/ 189 w 590"/>
                <a:gd name="T95" fmla="*/ 134 h 634"/>
                <a:gd name="T96" fmla="*/ 189 w 590"/>
                <a:gd name="T97" fmla="*/ 134 h 634"/>
                <a:gd name="T98" fmla="*/ 190 w 590"/>
                <a:gd name="T99" fmla="*/ 120 h 634"/>
                <a:gd name="T100" fmla="*/ 194 w 590"/>
                <a:gd name="T101" fmla="*/ 106 h 634"/>
                <a:gd name="T102" fmla="*/ 200 w 590"/>
                <a:gd name="T103" fmla="*/ 94 h 634"/>
                <a:gd name="T104" fmla="*/ 208 w 590"/>
                <a:gd name="T105" fmla="*/ 83 h 634"/>
                <a:gd name="T106" fmla="*/ 216 w 590"/>
                <a:gd name="T107" fmla="*/ 74 h 634"/>
                <a:gd name="T108" fmla="*/ 224 w 590"/>
                <a:gd name="T109" fmla="*/ 65 h 634"/>
                <a:gd name="T110" fmla="*/ 238 w 590"/>
                <a:gd name="T111" fmla="*/ 53 h 634"/>
                <a:gd name="T112" fmla="*/ 238 w 590"/>
                <a:gd name="T113" fmla="*/ 0 h 634"/>
                <a:gd name="T114" fmla="*/ 0 w 590"/>
                <a:gd name="T115" fmla="*/ 0 h 634"/>
                <a:gd name="T116" fmla="*/ 0 w 590"/>
                <a:gd name="T117" fmla="*/ 634 h 634"/>
                <a:gd name="T118" fmla="*/ 590 w 590"/>
                <a:gd name="T119" fmla="*/ 634 h 634"/>
                <a:gd name="T120" fmla="*/ 590 w 590"/>
                <a:gd name="T121" fmla="*/ 4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0" h="634">
                  <a:moveTo>
                    <a:pt x="590" y="4"/>
                  </a:moveTo>
                  <a:lnTo>
                    <a:pt x="349" y="4"/>
                  </a:lnTo>
                  <a:lnTo>
                    <a:pt x="347" y="46"/>
                  </a:lnTo>
                  <a:lnTo>
                    <a:pt x="347" y="46"/>
                  </a:lnTo>
                  <a:lnTo>
                    <a:pt x="355" y="52"/>
                  </a:lnTo>
                  <a:lnTo>
                    <a:pt x="366" y="59"/>
                  </a:lnTo>
                  <a:lnTo>
                    <a:pt x="377" y="67"/>
                  </a:lnTo>
                  <a:lnTo>
                    <a:pt x="387" y="78"/>
                  </a:lnTo>
                  <a:lnTo>
                    <a:pt x="396" y="90"/>
                  </a:lnTo>
                  <a:lnTo>
                    <a:pt x="403" y="105"/>
                  </a:lnTo>
                  <a:lnTo>
                    <a:pt x="406" y="115"/>
                  </a:lnTo>
                  <a:lnTo>
                    <a:pt x="409" y="123"/>
                  </a:lnTo>
                  <a:lnTo>
                    <a:pt x="410" y="134"/>
                  </a:lnTo>
                  <a:lnTo>
                    <a:pt x="410" y="143"/>
                  </a:lnTo>
                  <a:lnTo>
                    <a:pt x="410" y="143"/>
                  </a:lnTo>
                  <a:lnTo>
                    <a:pt x="409" y="153"/>
                  </a:lnTo>
                  <a:lnTo>
                    <a:pt x="407" y="162"/>
                  </a:lnTo>
                  <a:lnTo>
                    <a:pt x="403" y="170"/>
                  </a:lnTo>
                  <a:lnTo>
                    <a:pt x="399" y="179"/>
                  </a:lnTo>
                  <a:lnTo>
                    <a:pt x="395" y="187"/>
                  </a:lnTo>
                  <a:lnTo>
                    <a:pt x="388" y="195"/>
                  </a:lnTo>
                  <a:lnTo>
                    <a:pt x="381" y="202"/>
                  </a:lnTo>
                  <a:lnTo>
                    <a:pt x="374" y="207"/>
                  </a:lnTo>
                  <a:lnTo>
                    <a:pt x="365" y="214"/>
                  </a:lnTo>
                  <a:lnTo>
                    <a:pt x="357" y="218"/>
                  </a:lnTo>
                  <a:lnTo>
                    <a:pt x="347" y="224"/>
                  </a:lnTo>
                  <a:lnTo>
                    <a:pt x="336" y="226"/>
                  </a:lnTo>
                  <a:lnTo>
                    <a:pt x="325" y="230"/>
                  </a:lnTo>
                  <a:lnTo>
                    <a:pt x="314" y="232"/>
                  </a:lnTo>
                  <a:lnTo>
                    <a:pt x="302" y="233"/>
                  </a:lnTo>
                  <a:lnTo>
                    <a:pt x="290" y="235"/>
                  </a:lnTo>
                  <a:lnTo>
                    <a:pt x="290" y="235"/>
                  </a:lnTo>
                  <a:lnTo>
                    <a:pt x="279" y="233"/>
                  </a:lnTo>
                  <a:lnTo>
                    <a:pt x="267" y="232"/>
                  </a:lnTo>
                  <a:lnTo>
                    <a:pt x="257" y="229"/>
                  </a:lnTo>
                  <a:lnTo>
                    <a:pt x="246" y="225"/>
                  </a:lnTo>
                  <a:lnTo>
                    <a:pt x="238" y="221"/>
                  </a:lnTo>
                  <a:lnTo>
                    <a:pt x="229" y="215"/>
                  </a:lnTo>
                  <a:lnTo>
                    <a:pt x="222" y="209"/>
                  </a:lnTo>
                  <a:lnTo>
                    <a:pt x="215" y="202"/>
                  </a:lnTo>
                  <a:lnTo>
                    <a:pt x="208" y="195"/>
                  </a:lnTo>
                  <a:lnTo>
                    <a:pt x="204" y="187"/>
                  </a:lnTo>
                  <a:lnTo>
                    <a:pt x="199" y="179"/>
                  </a:lnTo>
                  <a:lnTo>
                    <a:pt x="196" y="170"/>
                  </a:lnTo>
                  <a:lnTo>
                    <a:pt x="192" y="161"/>
                  </a:lnTo>
                  <a:lnTo>
                    <a:pt x="190" y="153"/>
                  </a:lnTo>
                  <a:lnTo>
                    <a:pt x="189" y="143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90" y="120"/>
                  </a:lnTo>
                  <a:lnTo>
                    <a:pt x="194" y="106"/>
                  </a:lnTo>
                  <a:lnTo>
                    <a:pt x="200" y="94"/>
                  </a:lnTo>
                  <a:lnTo>
                    <a:pt x="208" y="83"/>
                  </a:lnTo>
                  <a:lnTo>
                    <a:pt x="216" y="74"/>
                  </a:lnTo>
                  <a:lnTo>
                    <a:pt x="224" y="65"/>
                  </a:lnTo>
                  <a:lnTo>
                    <a:pt x="238" y="53"/>
                  </a:lnTo>
                  <a:lnTo>
                    <a:pt x="238" y="0"/>
                  </a:lnTo>
                  <a:lnTo>
                    <a:pt x="0" y="0"/>
                  </a:lnTo>
                  <a:lnTo>
                    <a:pt x="0" y="634"/>
                  </a:lnTo>
                  <a:lnTo>
                    <a:pt x="590" y="634"/>
                  </a:lnTo>
                  <a:lnTo>
                    <a:pt x="590" y="4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44450"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6B36CF84-F672-FD4C-A402-76FAE1464C49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7285587" y="3866501"/>
              <a:ext cx="1962233" cy="2346768"/>
            </a:xfrm>
            <a:custGeom>
              <a:avLst/>
              <a:gdLst>
                <a:gd name="T0" fmla="*/ 590 w 590"/>
                <a:gd name="T1" fmla="*/ 4 h 634"/>
                <a:gd name="T2" fmla="*/ 349 w 590"/>
                <a:gd name="T3" fmla="*/ 4 h 634"/>
                <a:gd name="T4" fmla="*/ 347 w 590"/>
                <a:gd name="T5" fmla="*/ 46 h 634"/>
                <a:gd name="T6" fmla="*/ 347 w 590"/>
                <a:gd name="T7" fmla="*/ 46 h 634"/>
                <a:gd name="T8" fmla="*/ 355 w 590"/>
                <a:gd name="T9" fmla="*/ 52 h 634"/>
                <a:gd name="T10" fmla="*/ 366 w 590"/>
                <a:gd name="T11" fmla="*/ 59 h 634"/>
                <a:gd name="T12" fmla="*/ 377 w 590"/>
                <a:gd name="T13" fmla="*/ 67 h 634"/>
                <a:gd name="T14" fmla="*/ 387 w 590"/>
                <a:gd name="T15" fmla="*/ 78 h 634"/>
                <a:gd name="T16" fmla="*/ 396 w 590"/>
                <a:gd name="T17" fmla="*/ 90 h 634"/>
                <a:gd name="T18" fmla="*/ 403 w 590"/>
                <a:gd name="T19" fmla="*/ 105 h 634"/>
                <a:gd name="T20" fmla="*/ 406 w 590"/>
                <a:gd name="T21" fmla="*/ 115 h 634"/>
                <a:gd name="T22" fmla="*/ 409 w 590"/>
                <a:gd name="T23" fmla="*/ 123 h 634"/>
                <a:gd name="T24" fmla="*/ 410 w 590"/>
                <a:gd name="T25" fmla="*/ 134 h 634"/>
                <a:gd name="T26" fmla="*/ 410 w 590"/>
                <a:gd name="T27" fmla="*/ 143 h 634"/>
                <a:gd name="T28" fmla="*/ 410 w 590"/>
                <a:gd name="T29" fmla="*/ 143 h 634"/>
                <a:gd name="T30" fmla="*/ 409 w 590"/>
                <a:gd name="T31" fmla="*/ 153 h 634"/>
                <a:gd name="T32" fmla="*/ 407 w 590"/>
                <a:gd name="T33" fmla="*/ 162 h 634"/>
                <a:gd name="T34" fmla="*/ 403 w 590"/>
                <a:gd name="T35" fmla="*/ 170 h 634"/>
                <a:gd name="T36" fmla="*/ 399 w 590"/>
                <a:gd name="T37" fmla="*/ 179 h 634"/>
                <a:gd name="T38" fmla="*/ 395 w 590"/>
                <a:gd name="T39" fmla="*/ 187 h 634"/>
                <a:gd name="T40" fmla="*/ 388 w 590"/>
                <a:gd name="T41" fmla="*/ 195 h 634"/>
                <a:gd name="T42" fmla="*/ 381 w 590"/>
                <a:gd name="T43" fmla="*/ 202 h 634"/>
                <a:gd name="T44" fmla="*/ 374 w 590"/>
                <a:gd name="T45" fmla="*/ 207 h 634"/>
                <a:gd name="T46" fmla="*/ 365 w 590"/>
                <a:gd name="T47" fmla="*/ 214 h 634"/>
                <a:gd name="T48" fmla="*/ 357 w 590"/>
                <a:gd name="T49" fmla="*/ 218 h 634"/>
                <a:gd name="T50" fmla="*/ 347 w 590"/>
                <a:gd name="T51" fmla="*/ 224 h 634"/>
                <a:gd name="T52" fmla="*/ 336 w 590"/>
                <a:gd name="T53" fmla="*/ 226 h 634"/>
                <a:gd name="T54" fmla="*/ 325 w 590"/>
                <a:gd name="T55" fmla="*/ 230 h 634"/>
                <a:gd name="T56" fmla="*/ 314 w 590"/>
                <a:gd name="T57" fmla="*/ 232 h 634"/>
                <a:gd name="T58" fmla="*/ 302 w 590"/>
                <a:gd name="T59" fmla="*/ 233 h 634"/>
                <a:gd name="T60" fmla="*/ 290 w 590"/>
                <a:gd name="T61" fmla="*/ 235 h 634"/>
                <a:gd name="T62" fmla="*/ 290 w 590"/>
                <a:gd name="T63" fmla="*/ 235 h 634"/>
                <a:gd name="T64" fmla="*/ 279 w 590"/>
                <a:gd name="T65" fmla="*/ 233 h 634"/>
                <a:gd name="T66" fmla="*/ 267 w 590"/>
                <a:gd name="T67" fmla="*/ 232 h 634"/>
                <a:gd name="T68" fmla="*/ 257 w 590"/>
                <a:gd name="T69" fmla="*/ 229 h 634"/>
                <a:gd name="T70" fmla="*/ 246 w 590"/>
                <a:gd name="T71" fmla="*/ 225 h 634"/>
                <a:gd name="T72" fmla="*/ 238 w 590"/>
                <a:gd name="T73" fmla="*/ 221 h 634"/>
                <a:gd name="T74" fmla="*/ 229 w 590"/>
                <a:gd name="T75" fmla="*/ 215 h 634"/>
                <a:gd name="T76" fmla="*/ 222 w 590"/>
                <a:gd name="T77" fmla="*/ 209 h 634"/>
                <a:gd name="T78" fmla="*/ 215 w 590"/>
                <a:gd name="T79" fmla="*/ 202 h 634"/>
                <a:gd name="T80" fmla="*/ 208 w 590"/>
                <a:gd name="T81" fmla="*/ 195 h 634"/>
                <a:gd name="T82" fmla="*/ 204 w 590"/>
                <a:gd name="T83" fmla="*/ 187 h 634"/>
                <a:gd name="T84" fmla="*/ 199 w 590"/>
                <a:gd name="T85" fmla="*/ 179 h 634"/>
                <a:gd name="T86" fmla="*/ 196 w 590"/>
                <a:gd name="T87" fmla="*/ 170 h 634"/>
                <a:gd name="T88" fmla="*/ 192 w 590"/>
                <a:gd name="T89" fmla="*/ 161 h 634"/>
                <a:gd name="T90" fmla="*/ 190 w 590"/>
                <a:gd name="T91" fmla="*/ 153 h 634"/>
                <a:gd name="T92" fmla="*/ 189 w 590"/>
                <a:gd name="T93" fmla="*/ 143 h 634"/>
                <a:gd name="T94" fmla="*/ 189 w 590"/>
                <a:gd name="T95" fmla="*/ 134 h 634"/>
                <a:gd name="T96" fmla="*/ 189 w 590"/>
                <a:gd name="T97" fmla="*/ 134 h 634"/>
                <a:gd name="T98" fmla="*/ 190 w 590"/>
                <a:gd name="T99" fmla="*/ 120 h 634"/>
                <a:gd name="T100" fmla="*/ 194 w 590"/>
                <a:gd name="T101" fmla="*/ 106 h 634"/>
                <a:gd name="T102" fmla="*/ 200 w 590"/>
                <a:gd name="T103" fmla="*/ 94 h 634"/>
                <a:gd name="T104" fmla="*/ 208 w 590"/>
                <a:gd name="T105" fmla="*/ 83 h 634"/>
                <a:gd name="T106" fmla="*/ 216 w 590"/>
                <a:gd name="T107" fmla="*/ 74 h 634"/>
                <a:gd name="T108" fmla="*/ 224 w 590"/>
                <a:gd name="T109" fmla="*/ 65 h 634"/>
                <a:gd name="T110" fmla="*/ 238 w 590"/>
                <a:gd name="T111" fmla="*/ 53 h 634"/>
                <a:gd name="T112" fmla="*/ 238 w 590"/>
                <a:gd name="T113" fmla="*/ 0 h 634"/>
                <a:gd name="T114" fmla="*/ 0 w 590"/>
                <a:gd name="T115" fmla="*/ 0 h 634"/>
                <a:gd name="T116" fmla="*/ 0 w 590"/>
                <a:gd name="T117" fmla="*/ 634 h 634"/>
                <a:gd name="T118" fmla="*/ 590 w 590"/>
                <a:gd name="T119" fmla="*/ 634 h 634"/>
                <a:gd name="T120" fmla="*/ 590 w 590"/>
                <a:gd name="T121" fmla="*/ 4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0" h="634">
                  <a:moveTo>
                    <a:pt x="590" y="4"/>
                  </a:moveTo>
                  <a:lnTo>
                    <a:pt x="349" y="4"/>
                  </a:lnTo>
                  <a:lnTo>
                    <a:pt x="347" y="46"/>
                  </a:lnTo>
                  <a:lnTo>
                    <a:pt x="347" y="46"/>
                  </a:lnTo>
                  <a:lnTo>
                    <a:pt x="355" y="52"/>
                  </a:lnTo>
                  <a:lnTo>
                    <a:pt x="366" y="59"/>
                  </a:lnTo>
                  <a:lnTo>
                    <a:pt x="377" y="67"/>
                  </a:lnTo>
                  <a:lnTo>
                    <a:pt x="387" y="78"/>
                  </a:lnTo>
                  <a:lnTo>
                    <a:pt x="396" y="90"/>
                  </a:lnTo>
                  <a:lnTo>
                    <a:pt x="403" y="105"/>
                  </a:lnTo>
                  <a:lnTo>
                    <a:pt x="406" y="115"/>
                  </a:lnTo>
                  <a:lnTo>
                    <a:pt x="409" y="123"/>
                  </a:lnTo>
                  <a:lnTo>
                    <a:pt x="410" y="134"/>
                  </a:lnTo>
                  <a:lnTo>
                    <a:pt x="410" y="143"/>
                  </a:lnTo>
                  <a:lnTo>
                    <a:pt x="410" y="143"/>
                  </a:lnTo>
                  <a:lnTo>
                    <a:pt x="409" y="153"/>
                  </a:lnTo>
                  <a:lnTo>
                    <a:pt x="407" y="162"/>
                  </a:lnTo>
                  <a:lnTo>
                    <a:pt x="403" y="170"/>
                  </a:lnTo>
                  <a:lnTo>
                    <a:pt x="399" y="179"/>
                  </a:lnTo>
                  <a:lnTo>
                    <a:pt x="395" y="187"/>
                  </a:lnTo>
                  <a:lnTo>
                    <a:pt x="388" y="195"/>
                  </a:lnTo>
                  <a:lnTo>
                    <a:pt x="381" y="202"/>
                  </a:lnTo>
                  <a:lnTo>
                    <a:pt x="374" y="207"/>
                  </a:lnTo>
                  <a:lnTo>
                    <a:pt x="365" y="214"/>
                  </a:lnTo>
                  <a:lnTo>
                    <a:pt x="357" y="218"/>
                  </a:lnTo>
                  <a:lnTo>
                    <a:pt x="347" y="224"/>
                  </a:lnTo>
                  <a:lnTo>
                    <a:pt x="336" y="226"/>
                  </a:lnTo>
                  <a:lnTo>
                    <a:pt x="325" y="230"/>
                  </a:lnTo>
                  <a:lnTo>
                    <a:pt x="314" y="232"/>
                  </a:lnTo>
                  <a:lnTo>
                    <a:pt x="302" y="233"/>
                  </a:lnTo>
                  <a:lnTo>
                    <a:pt x="290" y="235"/>
                  </a:lnTo>
                  <a:lnTo>
                    <a:pt x="290" y="235"/>
                  </a:lnTo>
                  <a:lnTo>
                    <a:pt x="279" y="233"/>
                  </a:lnTo>
                  <a:lnTo>
                    <a:pt x="267" y="232"/>
                  </a:lnTo>
                  <a:lnTo>
                    <a:pt x="257" y="229"/>
                  </a:lnTo>
                  <a:lnTo>
                    <a:pt x="246" y="225"/>
                  </a:lnTo>
                  <a:lnTo>
                    <a:pt x="238" y="221"/>
                  </a:lnTo>
                  <a:lnTo>
                    <a:pt x="229" y="215"/>
                  </a:lnTo>
                  <a:lnTo>
                    <a:pt x="222" y="209"/>
                  </a:lnTo>
                  <a:lnTo>
                    <a:pt x="215" y="202"/>
                  </a:lnTo>
                  <a:lnTo>
                    <a:pt x="208" y="195"/>
                  </a:lnTo>
                  <a:lnTo>
                    <a:pt x="204" y="187"/>
                  </a:lnTo>
                  <a:lnTo>
                    <a:pt x="199" y="179"/>
                  </a:lnTo>
                  <a:lnTo>
                    <a:pt x="196" y="170"/>
                  </a:lnTo>
                  <a:lnTo>
                    <a:pt x="192" y="161"/>
                  </a:lnTo>
                  <a:lnTo>
                    <a:pt x="190" y="153"/>
                  </a:lnTo>
                  <a:lnTo>
                    <a:pt x="189" y="143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90" y="120"/>
                  </a:lnTo>
                  <a:lnTo>
                    <a:pt x="194" y="106"/>
                  </a:lnTo>
                  <a:lnTo>
                    <a:pt x="200" y="94"/>
                  </a:lnTo>
                  <a:lnTo>
                    <a:pt x="208" y="83"/>
                  </a:lnTo>
                  <a:lnTo>
                    <a:pt x="216" y="74"/>
                  </a:lnTo>
                  <a:lnTo>
                    <a:pt x="224" y="65"/>
                  </a:lnTo>
                  <a:lnTo>
                    <a:pt x="238" y="53"/>
                  </a:lnTo>
                  <a:lnTo>
                    <a:pt x="238" y="0"/>
                  </a:lnTo>
                  <a:lnTo>
                    <a:pt x="0" y="0"/>
                  </a:lnTo>
                  <a:lnTo>
                    <a:pt x="0" y="634"/>
                  </a:lnTo>
                  <a:lnTo>
                    <a:pt x="590" y="634"/>
                  </a:lnTo>
                  <a:lnTo>
                    <a:pt x="590" y="4"/>
                  </a:lnTo>
                  <a:close/>
                </a:path>
              </a:pathLst>
            </a:custGeom>
            <a:solidFill>
              <a:schemeClr val="accent1"/>
            </a:solidFill>
            <a:ln w="44450"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D993F31-5DFB-3F4A-8CC4-1000B52E5510}"/>
                </a:ext>
              </a:extLst>
            </p:cNvPr>
            <p:cNvSpPr/>
            <p:nvPr/>
          </p:nvSpPr>
          <p:spPr bwMode="auto">
            <a:xfrm>
              <a:off x="4961856" y="1161004"/>
              <a:ext cx="2171401" cy="581186"/>
            </a:xfrm>
            <a:custGeom>
              <a:avLst/>
              <a:gdLst>
                <a:gd name="connsiteX0" fmla="*/ 1019411 w 2026637"/>
                <a:gd name="connsiteY0" fmla="*/ 1 h 542439"/>
                <a:gd name="connsiteX1" fmla="*/ 2026637 w 2026637"/>
                <a:gd name="connsiteY1" fmla="*/ 460452 h 542439"/>
                <a:gd name="connsiteX2" fmla="*/ 1911585 w 2026637"/>
                <a:gd name="connsiteY2" fmla="*/ 542439 h 542439"/>
                <a:gd name="connsiteX3" fmla="*/ 1009372 w 2026637"/>
                <a:gd name="connsiteY3" fmla="*/ 156189 h 542439"/>
                <a:gd name="connsiteX4" fmla="*/ 119485 w 2026637"/>
                <a:gd name="connsiteY4" fmla="*/ 539192 h 542439"/>
                <a:gd name="connsiteX5" fmla="*/ 112457 w 2026637"/>
                <a:gd name="connsiteY5" fmla="*/ 536695 h 542439"/>
                <a:gd name="connsiteX6" fmla="*/ 0 w 2026637"/>
                <a:gd name="connsiteY6" fmla="*/ 448114 h 542439"/>
                <a:gd name="connsiteX7" fmla="*/ 68472 w 2026637"/>
                <a:gd name="connsiteY7" fmla="*/ 366516 h 542439"/>
                <a:gd name="connsiteX8" fmla="*/ 1019411 w 2026637"/>
                <a:gd name="connsiteY8" fmla="*/ 1 h 54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6637" h="542439">
                  <a:moveTo>
                    <a:pt x="1019411" y="1"/>
                  </a:moveTo>
                  <a:cubicBezTo>
                    <a:pt x="1359287" y="-448"/>
                    <a:pt x="1816804" y="194765"/>
                    <a:pt x="2026637" y="460452"/>
                  </a:cubicBezTo>
                  <a:lnTo>
                    <a:pt x="1911585" y="542439"/>
                  </a:lnTo>
                  <a:cubicBezTo>
                    <a:pt x="1771961" y="376391"/>
                    <a:pt x="1462475" y="156608"/>
                    <a:pt x="1009372" y="156189"/>
                  </a:cubicBezTo>
                  <a:cubicBezTo>
                    <a:pt x="561617" y="155776"/>
                    <a:pt x="239493" y="389957"/>
                    <a:pt x="119485" y="539192"/>
                  </a:cubicBezTo>
                  <a:lnTo>
                    <a:pt x="112457" y="536695"/>
                  </a:lnTo>
                  <a:lnTo>
                    <a:pt x="0" y="448114"/>
                  </a:lnTo>
                  <a:lnTo>
                    <a:pt x="68472" y="366516"/>
                  </a:lnTo>
                  <a:cubicBezTo>
                    <a:pt x="290074" y="150030"/>
                    <a:pt x="722020" y="394"/>
                    <a:pt x="1019411" y="1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BA3F7B2-D88C-1E4E-B8D6-C79B19C0C2FC}"/>
                </a:ext>
              </a:extLst>
            </p:cNvPr>
            <p:cNvSpPr/>
            <p:nvPr/>
          </p:nvSpPr>
          <p:spPr bwMode="auto">
            <a:xfrm>
              <a:off x="4623535" y="1740731"/>
              <a:ext cx="467503" cy="291762"/>
            </a:xfrm>
            <a:custGeom>
              <a:avLst/>
              <a:gdLst>
                <a:gd name="connsiteX0" fmla="*/ 0 w 338400"/>
                <a:gd name="connsiteY0" fmla="*/ 0 h 236244"/>
                <a:gd name="connsiteX1" fmla="*/ 338400 w 338400"/>
                <a:gd name="connsiteY1" fmla="*/ 0 h 236244"/>
                <a:gd name="connsiteX2" fmla="*/ 338400 w 338400"/>
                <a:gd name="connsiteY2" fmla="*/ 236244 h 236244"/>
                <a:gd name="connsiteX3" fmla="*/ 0 w 338400"/>
                <a:gd name="connsiteY3" fmla="*/ 236244 h 236244"/>
                <a:gd name="connsiteX4" fmla="*/ 0 w 338400"/>
                <a:gd name="connsiteY4" fmla="*/ 0 h 236244"/>
                <a:gd name="connsiteX0" fmla="*/ 1357 w 339757"/>
                <a:gd name="connsiteY0" fmla="*/ 0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1357 w 339757"/>
                <a:gd name="connsiteY5" fmla="*/ 0 h 236244"/>
                <a:gd name="connsiteX0" fmla="*/ 188682 w 339757"/>
                <a:gd name="connsiteY0" fmla="*/ 15875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188682 w 339757"/>
                <a:gd name="connsiteY5" fmla="*/ 15875 h 236244"/>
                <a:gd name="connsiteX0" fmla="*/ 188682 w 339757"/>
                <a:gd name="connsiteY0" fmla="*/ 15875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31751 w 339757"/>
                <a:gd name="connsiteY5" fmla="*/ 145478 h 236244"/>
                <a:gd name="connsiteX6" fmla="*/ 188682 w 339757"/>
                <a:gd name="connsiteY6" fmla="*/ 15875 h 236244"/>
                <a:gd name="connsiteX0" fmla="*/ 188682 w 339757"/>
                <a:gd name="connsiteY0" fmla="*/ 15875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66676 w 339757"/>
                <a:gd name="connsiteY5" fmla="*/ 199453 h 236244"/>
                <a:gd name="connsiteX6" fmla="*/ 188682 w 339757"/>
                <a:gd name="connsiteY6" fmla="*/ 15875 h 236244"/>
                <a:gd name="connsiteX0" fmla="*/ 191857 w 342932"/>
                <a:gd name="connsiteY0" fmla="*/ 15875 h 236244"/>
                <a:gd name="connsiteX1" fmla="*/ 342932 w 342932"/>
                <a:gd name="connsiteY1" fmla="*/ 0 h 236244"/>
                <a:gd name="connsiteX2" fmla="*/ 342932 w 342932"/>
                <a:gd name="connsiteY2" fmla="*/ 236244 h 236244"/>
                <a:gd name="connsiteX3" fmla="*/ 4532 w 342932"/>
                <a:gd name="connsiteY3" fmla="*/ 236244 h 236244"/>
                <a:gd name="connsiteX4" fmla="*/ 0 w 342932"/>
                <a:gd name="connsiteY4" fmla="*/ 218503 h 236244"/>
                <a:gd name="connsiteX5" fmla="*/ 69851 w 342932"/>
                <a:gd name="connsiteY5" fmla="*/ 199453 h 236244"/>
                <a:gd name="connsiteX6" fmla="*/ 191857 w 342932"/>
                <a:gd name="connsiteY6" fmla="*/ 15875 h 236244"/>
                <a:gd name="connsiteX0" fmla="*/ 204557 w 342932"/>
                <a:gd name="connsiteY0" fmla="*/ 22225 h 236244"/>
                <a:gd name="connsiteX1" fmla="*/ 342932 w 342932"/>
                <a:gd name="connsiteY1" fmla="*/ 0 h 236244"/>
                <a:gd name="connsiteX2" fmla="*/ 342932 w 342932"/>
                <a:gd name="connsiteY2" fmla="*/ 236244 h 236244"/>
                <a:gd name="connsiteX3" fmla="*/ 4532 w 342932"/>
                <a:gd name="connsiteY3" fmla="*/ 236244 h 236244"/>
                <a:gd name="connsiteX4" fmla="*/ 0 w 342932"/>
                <a:gd name="connsiteY4" fmla="*/ 218503 h 236244"/>
                <a:gd name="connsiteX5" fmla="*/ 69851 w 342932"/>
                <a:gd name="connsiteY5" fmla="*/ 199453 h 236244"/>
                <a:gd name="connsiteX6" fmla="*/ 204557 w 342932"/>
                <a:gd name="connsiteY6" fmla="*/ 22225 h 236244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42932 w 342932"/>
                <a:gd name="connsiteY2" fmla="*/ 214019 h 214019"/>
                <a:gd name="connsiteX3" fmla="*/ 4532 w 342932"/>
                <a:gd name="connsiteY3" fmla="*/ 214019 h 214019"/>
                <a:gd name="connsiteX4" fmla="*/ 0 w 342932"/>
                <a:gd name="connsiteY4" fmla="*/ 196278 h 214019"/>
                <a:gd name="connsiteX5" fmla="*/ 69851 w 342932"/>
                <a:gd name="connsiteY5" fmla="*/ 177228 h 214019"/>
                <a:gd name="connsiteX6" fmla="*/ 204557 w 342932"/>
                <a:gd name="connsiteY6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0201 w 342932"/>
                <a:gd name="connsiteY2" fmla="*/ 14865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3376 w 342932"/>
                <a:gd name="connsiteY2" fmla="*/ 18040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3376 w 342932"/>
                <a:gd name="connsiteY2" fmla="*/ 18040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6551 w 342932"/>
                <a:gd name="connsiteY2" fmla="*/ 19310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32" h="214019">
                  <a:moveTo>
                    <a:pt x="204557" y="0"/>
                  </a:moveTo>
                  <a:lnTo>
                    <a:pt x="304832" y="38100"/>
                  </a:lnTo>
                  <a:cubicBezTo>
                    <a:pt x="314347" y="85534"/>
                    <a:pt x="244486" y="183769"/>
                    <a:pt x="336551" y="193103"/>
                  </a:cubicBezTo>
                  <a:lnTo>
                    <a:pt x="342932" y="214019"/>
                  </a:lnTo>
                  <a:lnTo>
                    <a:pt x="4532" y="214019"/>
                  </a:lnTo>
                  <a:cubicBezTo>
                    <a:pt x="4080" y="202814"/>
                    <a:pt x="452" y="207483"/>
                    <a:pt x="0" y="196278"/>
                  </a:cubicBezTo>
                  <a:cubicBezTo>
                    <a:pt x="5066" y="181151"/>
                    <a:pt x="38404" y="208354"/>
                    <a:pt x="69851" y="177228"/>
                  </a:cubicBezTo>
                  <a:cubicBezTo>
                    <a:pt x="101298" y="146103"/>
                    <a:pt x="153223" y="24246"/>
                    <a:pt x="204557" y="0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5" name="Rectangle 22">
              <a:extLst>
                <a:ext uri="{FF2B5EF4-FFF2-40B4-BE49-F238E27FC236}">
                  <a16:creationId xmlns:a16="http://schemas.microsoft.com/office/drawing/2014/main" id="{74A51E56-8EC2-004D-BEF6-9693A6BD9A3F}"/>
                </a:ext>
              </a:extLst>
            </p:cNvPr>
            <p:cNvSpPr/>
            <p:nvPr/>
          </p:nvSpPr>
          <p:spPr bwMode="auto">
            <a:xfrm flipH="1">
              <a:off x="7004076" y="1735016"/>
              <a:ext cx="467503" cy="291762"/>
            </a:xfrm>
            <a:custGeom>
              <a:avLst/>
              <a:gdLst>
                <a:gd name="connsiteX0" fmla="*/ 0 w 338400"/>
                <a:gd name="connsiteY0" fmla="*/ 0 h 236244"/>
                <a:gd name="connsiteX1" fmla="*/ 338400 w 338400"/>
                <a:gd name="connsiteY1" fmla="*/ 0 h 236244"/>
                <a:gd name="connsiteX2" fmla="*/ 338400 w 338400"/>
                <a:gd name="connsiteY2" fmla="*/ 236244 h 236244"/>
                <a:gd name="connsiteX3" fmla="*/ 0 w 338400"/>
                <a:gd name="connsiteY3" fmla="*/ 236244 h 236244"/>
                <a:gd name="connsiteX4" fmla="*/ 0 w 338400"/>
                <a:gd name="connsiteY4" fmla="*/ 0 h 236244"/>
                <a:gd name="connsiteX0" fmla="*/ 1357 w 339757"/>
                <a:gd name="connsiteY0" fmla="*/ 0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1357 w 339757"/>
                <a:gd name="connsiteY5" fmla="*/ 0 h 236244"/>
                <a:gd name="connsiteX0" fmla="*/ 188682 w 339757"/>
                <a:gd name="connsiteY0" fmla="*/ 15875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188682 w 339757"/>
                <a:gd name="connsiteY5" fmla="*/ 15875 h 236244"/>
                <a:gd name="connsiteX0" fmla="*/ 188682 w 339757"/>
                <a:gd name="connsiteY0" fmla="*/ 15875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31751 w 339757"/>
                <a:gd name="connsiteY5" fmla="*/ 145478 h 236244"/>
                <a:gd name="connsiteX6" fmla="*/ 188682 w 339757"/>
                <a:gd name="connsiteY6" fmla="*/ 15875 h 236244"/>
                <a:gd name="connsiteX0" fmla="*/ 188682 w 339757"/>
                <a:gd name="connsiteY0" fmla="*/ 15875 h 236244"/>
                <a:gd name="connsiteX1" fmla="*/ 339757 w 339757"/>
                <a:gd name="connsiteY1" fmla="*/ 0 h 236244"/>
                <a:gd name="connsiteX2" fmla="*/ 339757 w 339757"/>
                <a:gd name="connsiteY2" fmla="*/ 236244 h 236244"/>
                <a:gd name="connsiteX3" fmla="*/ 1357 w 339757"/>
                <a:gd name="connsiteY3" fmla="*/ 236244 h 236244"/>
                <a:gd name="connsiteX4" fmla="*/ 0 w 339757"/>
                <a:gd name="connsiteY4" fmla="*/ 202628 h 236244"/>
                <a:gd name="connsiteX5" fmla="*/ 66676 w 339757"/>
                <a:gd name="connsiteY5" fmla="*/ 199453 h 236244"/>
                <a:gd name="connsiteX6" fmla="*/ 188682 w 339757"/>
                <a:gd name="connsiteY6" fmla="*/ 15875 h 236244"/>
                <a:gd name="connsiteX0" fmla="*/ 191857 w 342932"/>
                <a:gd name="connsiteY0" fmla="*/ 15875 h 236244"/>
                <a:gd name="connsiteX1" fmla="*/ 342932 w 342932"/>
                <a:gd name="connsiteY1" fmla="*/ 0 h 236244"/>
                <a:gd name="connsiteX2" fmla="*/ 342932 w 342932"/>
                <a:gd name="connsiteY2" fmla="*/ 236244 h 236244"/>
                <a:gd name="connsiteX3" fmla="*/ 4532 w 342932"/>
                <a:gd name="connsiteY3" fmla="*/ 236244 h 236244"/>
                <a:gd name="connsiteX4" fmla="*/ 0 w 342932"/>
                <a:gd name="connsiteY4" fmla="*/ 218503 h 236244"/>
                <a:gd name="connsiteX5" fmla="*/ 69851 w 342932"/>
                <a:gd name="connsiteY5" fmla="*/ 199453 h 236244"/>
                <a:gd name="connsiteX6" fmla="*/ 191857 w 342932"/>
                <a:gd name="connsiteY6" fmla="*/ 15875 h 236244"/>
                <a:gd name="connsiteX0" fmla="*/ 204557 w 342932"/>
                <a:gd name="connsiteY0" fmla="*/ 22225 h 236244"/>
                <a:gd name="connsiteX1" fmla="*/ 342932 w 342932"/>
                <a:gd name="connsiteY1" fmla="*/ 0 h 236244"/>
                <a:gd name="connsiteX2" fmla="*/ 342932 w 342932"/>
                <a:gd name="connsiteY2" fmla="*/ 236244 h 236244"/>
                <a:gd name="connsiteX3" fmla="*/ 4532 w 342932"/>
                <a:gd name="connsiteY3" fmla="*/ 236244 h 236244"/>
                <a:gd name="connsiteX4" fmla="*/ 0 w 342932"/>
                <a:gd name="connsiteY4" fmla="*/ 218503 h 236244"/>
                <a:gd name="connsiteX5" fmla="*/ 69851 w 342932"/>
                <a:gd name="connsiteY5" fmla="*/ 199453 h 236244"/>
                <a:gd name="connsiteX6" fmla="*/ 204557 w 342932"/>
                <a:gd name="connsiteY6" fmla="*/ 22225 h 236244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42932 w 342932"/>
                <a:gd name="connsiteY2" fmla="*/ 214019 h 214019"/>
                <a:gd name="connsiteX3" fmla="*/ 4532 w 342932"/>
                <a:gd name="connsiteY3" fmla="*/ 214019 h 214019"/>
                <a:gd name="connsiteX4" fmla="*/ 0 w 342932"/>
                <a:gd name="connsiteY4" fmla="*/ 196278 h 214019"/>
                <a:gd name="connsiteX5" fmla="*/ 69851 w 342932"/>
                <a:gd name="connsiteY5" fmla="*/ 177228 h 214019"/>
                <a:gd name="connsiteX6" fmla="*/ 204557 w 342932"/>
                <a:gd name="connsiteY6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0201 w 342932"/>
                <a:gd name="connsiteY2" fmla="*/ 14865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3376 w 342932"/>
                <a:gd name="connsiteY2" fmla="*/ 18040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3376 w 342932"/>
                <a:gd name="connsiteY2" fmla="*/ 18040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  <a:gd name="connsiteX0" fmla="*/ 204557 w 342932"/>
                <a:gd name="connsiteY0" fmla="*/ 0 h 214019"/>
                <a:gd name="connsiteX1" fmla="*/ 304832 w 342932"/>
                <a:gd name="connsiteY1" fmla="*/ 38100 h 214019"/>
                <a:gd name="connsiteX2" fmla="*/ 336551 w 342932"/>
                <a:gd name="connsiteY2" fmla="*/ 193103 h 214019"/>
                <a:gd name="connsiteX3" fmla="*/ 342932 w 342932"/>
                <a:gd name="connsiteY3" fmla="*/ 214019 h 214019"/>
                <a:gd name="connsiteX4" fmla="*/ 4532 w 342932"/>
                <a:gd name="connsiteY4" fmla="*/ 214019 h 214019"/>
                <a:gd name="connsiteX5" fmla="*/ 0 w 342932"/>
                <a:gd name="connsiteY5" fmla="*/ 196278 h 214019"/>
                <a:gd name="connsiteX6" fmla="*/ 69851 w 342932"/>
                <a:gd name="connsiteY6" fmla="*/ 177228 h 214019"/>
                <a:gd name="connsiteX7" fmla="*/ 204557 w 342932"/>
                <a:gd name="connsiteY7" fmla="*/ 0 h 21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32" h="214019">
                  <a:moveTo>
                    <a:pt x="204557" y="0"/>
                  </a:moveTo>
                  <a:lnTo>
                    <a:pt x="304832" y="38100"/>
                  </a:lnTo>
                  <a:cubicBezTo>
                    <a:pt x="314347" y="85534"/>
                    <a:pt x="244486" y="183769"/>
                    <a:pt x="336551" y="193103"/>
                  </a:cubicBezTo>
                  <a:lnTo>
                    <a:pt x="342932" y="214019"/>
                  </a:lnTo>
                  <a:lnTo>
                    <a:pt x="4532" y="214019"/>
                  </a:lnTo>
                  <a:cubicBezTo>
                    <a:pt x="4080" y="202814"/>
                    <a:pt x="452" y="207483"/>
                    <a:pt x="0" y="196278"/>
                  </a:cubicBezTo>
                  <a:cubicBezTo>
                    <a:pt x="5066" y="181151"/>
                    <a:pt x="38404" y="208354"/>
                    <a:pt x="69851" y="177228"/>
                  </a:cubicBezTo>
                  <a:cubicBezTo>
                    <a:pt x="101298" y="146103"/>
                    <a:pt x="153223" y="24246"/>
                    <a:pt x="204557" y="0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E7CF950-D386-4D42-9951-6035D20B066B}"/>
                </a:ext>
              </a:extLst>
            </p:cNvPr>
            <p:cNvSpPr/>
            <p:nvPr/>
          </p:nvSpPr>
          <p:spPr>
            <a:xfrm>
              <a:off x="5311731" y="2856653"/>
              <a:ext cx="1568537" cy="4001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731">
                <a:defRPr/>
              </a:pPr>
              <a:r>
                <a:rPr lang="en-US" sz="2000" b="1" kern="0" dirty="0">
                  <a:solidFill>
                    <a:schemeClr val="bg1"/>
                  </a:solidFill>
                </a:rPr>
                <a:t>OWNERSHIP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076B2E9-17B4-4742-9693-B07E2687C91C}"/>
                </a:ext>
              </a:extLst>
            </p:cNvPr>
            <p:cNvSpPr/>
            <p:nvPr/>
          </p:nvSpPr>
          <p:spPr>
            <a:xfrm>
              <a:off x="7921473" y="4617096"/>
              <a:ext cx="1522808" cy="6464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LONG TERM </a:t>
              </a:r>
            </a:p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ORIENTATION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0001216-C706-6B45-9B0E-95987A69BD49}"/>
                </a:ext>
              </a:extLst>
            </p:cNvPr>
            <p:cNvSpPr/>
            <p:nvPr/>
          </p:nvSpPr>
          <p:spPr>
            <a:xfrm>
              <a:off x="5311731" y="4550654"/>
              <a:ext cx="1669498" cy="6464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DEVELOPMENT MINDSET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091E49A-6E71-D146-AAF4-FB8EC8312B8C}"/>
                </a:ext>
              </a:extLst>
            </p:cNvPr>
            <p:cNvSpPr/>
            <p:nvPr/>
          </p:nvSpPr>
          <p:spPr>
            <a:xfrm>
              <a:off x="2964449" y="2595009"/>
              <a:ext cx="1034392" cy="9234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POLICY </a:t>
              </a:r>
            </a:p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MISSION</a:t>
              </a:r>
            </a:p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VISION</a:t>
              </a:r>
              <a:r>
                <a:rPr lang="en-US" sz="1600" kern="0" dirty="0">
                  <a:solidFill>
                    <a:prstClr val="white"/>
                  </a:solidFill>
                </a:rPr>
                <a:t> 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348DD45-C0D4-1A44-A049-7BE3AF83FB12}"/>
                </a:ext>
              </a:extLst>
            </p:cNvPr>
            <p:cNvSpPr/>
            <p:nvPr/>
          </p:nvSpPr>
          <p:spPr>
            <a:xfrm>
              <a:off x="7796555" y="2649148"/>
              <a:ext cx="1772646" cy="9234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RECOGNIZE</a:t>
              </a:r>
            </a:p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EFFORT AND </a:t>
              </a:r>
            </a:p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ACHEIVEMENT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E6E43CA-F088-5D4B-9782-26AD55FC80EA}"/>
                </a:ext>
              </a:extLst>
            </p:cNvPr>
            <p:cNvSpPr/>
            <p:nvPr/>
          </p:nvSpPr>
          <p:spPr>
            <a:xfrm>
              <a:off x="2799806" y="4273619"/>
              <a:ext cx="1273685" cy="9234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731">
                <a:defRPr/>
              </a:pPr>
              <a:endParaRPr lang="en-US" kern="0" dirty="0">
                <a:solidFill>
                  <a:prstClr val="white"/>
                </a:solidFill>
              </a:endParaRPr>
            </a:p>
            <a:p>
              <a:pPr algn="ctr" defTabSz="685731">
                <a:defRPr/>
              </a:pPr>
              <a:r>
                <a:rPr lang="en-US" kern="0" dirty="0">
                  <a:solidFill>
                    <a:prstClr val="white"/>
                  </a:solidFill>
                </a:rPr>
                <a:t> </a:t>
              </a:r>
              <a:r>
                <a:rPr lang="en-US" b="1" kern="0" dirty="0">
                  <a:solidFill>
                    <a:prstClr val="white"/>
                  </a:solidFill>
                </a:rPr>
                <a:t>OPEN </a:t>
              </a:r>
            </a:p>
            <a:p>
              <a:pPr algn="ctr" defTabSz="685731">
                <a:defRPr/>
              </a:pPr>
              <a:r>
                <a:rPr lang="en-US" b="1" kern="0" dirty="0">
                  <a:solidFill>
                    <a:prstClr val="white"/>
                  </a:solidFill>
                </a:rPr>
                <a:t>DIALOGUE</a:t>
              </a:r>
            </a:p>
          </p:txBody>
        </p:sp>
      </p:grpSp>
      <p:sp>
        <p:nvSpPr>
          <p:cNvPr id="3" name="Google Shape;139;p5">
            <a:extLst>
              <a:ext uri="{FF2B5EF4-FFF2-40B4-BE49-F238E27FC236}">
                <a16:creationId xmlns:a16="http://schemas.microsoft.com/office/drawing/2014/main" id="{569ED884-6594-FF65-BFDE-D144D2153893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2854119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77474C3-33FC-6E4B-A00C-F02B5C81A749}"/>
              </a:ext>
            </a:extLst>
          </p:cNvPr>
          <p:cNvGrpSpPr>
            <a:grpSpLocks noChangeAspect="1"/>
          </p:cNvGrpSpPr>
          <p:nvPr/>
        </p:nvGrpSpPr>
        <p:grpSpPr>
          <a:xfrm>
            <a:off x="1269322" y="1445540"/>
            <a:ext cx="10378568" cy="4597132"/>
            <a:chOff x="566738" y="1756488"/>
            <a:chExt cx="8446454" cy="3741311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C0E437E8-9581-714F-B617-5B1D14D48B2C}"/>
                </a:ext>
              </a:extLst>
            </p:cNvPr>
            <p:cNvSpPr/>
            <p:nvPr/>
          </p:nvSpPr>
          <p:spPr>
            <a:xfrm>
              <a:off x="3123274" y="2358775"/>
              <a:ext cx="3076990" cy="3076991"/>
            </a:xfrm>
            <a:prstGeom prst="ellipse">
              <a:avLst/>
            </a:prstGeom>
            <a:noFill/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8CEA87-07D6-A440-8B7E-A86F62F4340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22045" y="3402728"/>
              <a:ext cx="1691037" cy="1878049"/>
            </a:xfrm>
            <a:custGeom>
              <a:avLst/>
              <a:gdLst>
                <a:gd name="connsiteX0" fmla="*/ 1282745 w 1786776"/>
                <a:gd name="connsiteY0" fmla="*/ 1874838 h 1984376"/>
                <a:gd name="connsiteX1" fmla="*/ 1337514 w 1786776"/>
                <a:gd name="connsiteY1" fmla="*/ 1929607 h 1984376"/>
                <a:gd name="connsiteX2" fmla="*/ 1282745 w 1786776"/>
                <a:gd name="connsiteY2" fmla="*/ 1984376 h 1984376"/>
                <a:gd name="connsiteX3" fmla="*/ 1227976 w 1786776"/>
                <a:gd name="connsiteY3" fmla="*/ 1929607 h 1984376"/>
                <a:gd name="connsiteX4" fmla="*/ 1282745 w 1786776"/>
                <a:gd name="connsiteY4" fmla="*/ 1874838 h 1984376"/>
                <a:gd name="connsiteX5" fmla="*/ 768989 w 1786776"/>
                <a:gd name="connsiteY5" fmla="*/ 633413 h 1984376"/>
                <a:gd name="connsiteX6" fmla="*/ 915962 w 1786776"/>
                <a:gd name="connsiteY6" fmla="*/ 663583 h 1984376"/>
                <a:gd name="connsiteX7" fmla="*/ 855665 w 1786776"/>
                <a:gd name="connsiteY7" fmla="*/ 723924 h 1984376"/>
                <a:gd name="connsiteX8" fmla="*/ 768989 w 1786776"/>
                <a:gd name="connsiteY8" fmla="*/ 708839 h 1984376"/>
                <a:gd name="connsiteX9" fmla="*/ 550414 w 1786776"/>
                <a:gd name="connsiteY9" fmla="*/ 803121 h 1984376"/>
                <a:gd name="connsiteX10" fmla="*/ 550414 w 1786776"/>
                <a:gd name="connsiteY10" fmla="*/ 1240590 h 1984376"/>
                <a:gd name="connsiteX11" fmla="*/ 768989 w 1786776"/>
                <a:gd name="connsiteY11" fmla="*/ 1331100 h 1984376"/>
                <a:gd name="connsiteX12" fmla="*/ 991332 w 1786776"/>
                <a:gd name="connsiteY12" fmla="*/ 1240590 h 1984376"/>
                <a:gd name="connsiteX13" fmla="*/ 1070471 w 1786776"/>
                <a:gd name="connsiteY13" fmla="*/ 935116 h 1984376"/>
                <a:gd name="connsiteX14" fmla="*/ 1126999 w 1786776"/>
                <a:gd name="connsiteY14" fmla="*/ 874775 h 1984376"/>
                <a:gd name="connsiteX15" fmla="*/ 1044092 w 1786776"/>
                <a:gd name="connsiteY15" fmla="*/ 1293388 h 1984376"/>
                <a:gd name="connsiteX16" fmla="*/ 768989 w 1786776"/>
                <a:gd name="connsiteY16" fmla="*/ 1406526 h 1984376"/>
                <a:gd name="connsiteX17" fmla="*/ 497655 w 1786776"/>
                <a:gd name="connsiteY17" fmla="*/ 1293388 h 1984376"/>
                <a:gd name="connsiteX18" fmla="*/ 497655 w 1786776"/>
                <a:gd name="connsiteY18" fmla="*/ 746552 h 1984376"/>
                <a:gd name="connsiteX19" fmla="*/ 768989 w 1786776"/>
                <a:gd name="connsiteY19" fmla="*/ 633413 h 1984376"/>
                <a:gd name="connsiteX20" fmla="*/ 1454990 w 1786776"/>
                <a:gd name="connsiteY20" fmla="*/ 388939 h 1984376"/>
                <a:gd name="connsiteX21" fmla="*/ 1172415 w 1786776"/>
                <a:gd name="connsiteY21" fmla="*/ 671514 h 1984376"/>
                <a:gd name="connsiteX22" fmla="*/ 1353390 w 1786776"/>
                <a:gd name="connsiteY22" fmla="*/ 709614 h 1984376"/>
                <a:gd name="connsiteX23" fmla="*/ 1635965 w 1786776"/>
                <a:gd name="connsiteY23" fmla="*/ 427039 h 1984376"/>
                <a:gd name="connsiteX24" fmla="*/ 753846 w 1786776"/>
                <a:gd name="connsiteY24" fmla="*/ 248686 h 1984376"/>
                <a:gd name="connsiteX25" fmla="*/ 945781 w 1786776"/>
                <a:gd name="connsiteY25" fmla="*/ 267725 h 1984376"/>
                <a:gd name="connsiteX26" fmla="*/ 881724 w 1786776"/>
                <a:gd name="connsiteY26" fmla="*/ 331856 h 1984376"/>
                <a:gd name="connsiteX27" fmla="*/ 768683 w 1786776"/>
                <a:gd name="connsiteY27" fmla="*/ 324311 h 1984376"/>
                <a:gd name="connsiteX28" fmla="*/ 278836 w 1786776"/>
                <a:gd name="connsiteY28" fmla="*/ 528023 h 1984376"/>
                <a:gd name="connsiteX29" fmla="*/ 278836 w 1786776"/>
                <a:gd name="connsiteY29" fmla="*/ 1516405 h 1984376"/>
                <a:gd name="connsiteX30" fmla="*/ 1262298 w 1786776"/>
                <a:gd name="connsiteY30" fmla="*/ 1516405 h 1984376"/>
                <a:gd name="connsiteX31" fmla="*/ 1465772 w 1786776"/>
                <a:gd name="connsiteY31" fmla="*/ 1022214 h 1984376"/>
                <a:gd name="connsiteX32" fmla="*/ 1458236 w 1786776"/>
                <a:gd name="connsiteY32" fmla="*/ 909041 h 1984376"/>
                <a:gd name="connsiteX33" fmla="*/ 1522293 w 1786776"/>
                <a:gd name="connsiteY33" fmla="*/ 844909 h 1984376"/>
                <a:gd name="connsiteX34" fmla="*/ 1315050 w 1786776"/>
                <a:gd name="connsiteY34" fmla="*/ 1569219 h 1984376"/>
                <a:gd name="connsiteX35" fmla="*/ 1153024 w 1786776"/>
                <a:gd name="connsiteY35" fmla="*/ 1693710 h 1984376"/>
                <a:gd name="connsiteX36" fmla="*/ 1247225 w 1786776"/>
                <a:gd name="connsiteY36" fmla="*/ 1821973 h 1984376"/>
                <a:gd name="connsiteX37" fmla="*/ 1186936 w 1786776"/>
                <a:gd name="connsiteY37" fmla="*/ 1863470 h 1984376"/>
                <a:gd name="connsiteX38" fmla="*/ 1085199 w 1786776"/>
                <a:gd name="connsiteY38" fmla="*/ 1727662 h 1984376"/>
                <a:gd name="connsiteX39" fmla="*/ 768683 w 1786776"/>
                <a:gd name="connsiteY39" fmla="*/ 1795566 h 1984376"/>
                <a:gd name="connsiteX40" fmla="*/ 455934 w 1786776"/>
                <a:gd name="connsiteY40" fmla="*/ 1727662 h 1984376"/>
                <a:gd name="connsiteX41" fmla="*/ 331589 w 1786776"/>
                <a:gd name="connsiteY41" fmla="*/ 1889877 h 1984376"/>
                <a:gd name="connsiteX42" fmla="*/ 1175632 w 1786776"/>
                <a:gd name="connsiteY42" fmla="*/ 1889877 h 1984376"/>
                <a:gd name="connsiteX43" fmla="*/ 1175632 w 1786776"/>
                <a:gd name="connsiteY43" fmla="*/ 1965326 h 1984376"/>
                <a:gd name="connsiteX44" fmla="*/ 180867 w 1786776"/>
                <a:gd name="connsiteY44" fmla="*/ 1965326 h 1984376"/>
                <a:gd name="connsiteX45" fmla="*/ 388109 w 1786776"/>
                <a:gd name="connsiteY45" fmla="*/ 1693710 h 1984376"/>
                <a:gd name="connsiteX46" fmla="*/ 226083 w 1786776"/>
                <a:gd name="connsiteY46" fmla="*/ 1569219 h 1984376"/>
                <a:gd name="connsiteX47" fmla="*/ 226083 w 1786776"/>
                <a:gd name="connsiteY47" fmla="*/ 475209 h 1984376"/>
                <a:gd name="connsiteX48" fmla="*/ 753846 w 1786776"/>
                <a:gd name="connsiteY48" fmla="*/ 248686 h 1984376"/>
                <a:gd name="connsiteX49" fmla="*/ 1361328 w 1786776"/>
                <a:gd name="connsiteY49" fmla="*/ 150814 h 1984376"/>
                <a:gd name="connsiteX50" fmla="*/ 1077165 w 1786776"/>
                <a:gd name="connsiteY50" fmla="*/ 434977 h 1984376"/>
                <a:gd name="connsiteX51" fmla="*/ 1120028 w 1786776"/>
                <a:gd name="connsiteY51" fmla="*/ 619127 h 1984376"/>
                <a:gd name="connsiteX52" fmla="*/ 1394666 w 1786776"/>
                <a:gd name="connsiteY52" fmla="*/ 344489 h 1984376"/>
                <a:gd name="connsiteX53" fmla="*/ 1402603 w 1786776"/>
                <a:gd name="connsiteY53" fmla="*/ 336552 h 1984376"/>
                <a:gd name="connsiteX54" fmla="*/ 1405776 w 1786776"/>
                <a:gd name="connsiteY54" fmla="*/ 0 h 1984376"/>
                <a:gd name="connsiteX55" fmla="*/ 1474039 w 1786776"/>
                <a:gd name="connsiteY55" fmla="*/ 317500 h 1984376"/>
                <a:gd name="connsiteX56" fmla="*/ 1786776 w 1786776"/>
                <a:gd name="connsiteY56" fmla="*/ 381000 h 1984376"/>
                <a:gd name="connsiteX57" fmla="*/ 1378789 w 1786776"/>
                <a:gd name="connsiteY57" fmla="*/ 792163 h 1984376"/>
                <a:gd name="connsiteX58" fmla="*/ 1107326 w 1786776"/>
                <a:gd name="connsiteY58" fmla="*/ 736600 h 1984376"/>
                <a:gd name="connsiteX59" fmla="*/ 1100976 w 1786776"/>
                <a:gd name="connsiteY59" fmla="*/ 739775 h 1984376"/>
                <a:gd name="connsiteX60" fmla="*/ 799351 w 1786776"/>
                <a:gd name="connsiteY60" fmla="*/ 1044575 h 1984376"/>
                <a:gd name="connsiteX61" fmla="*/ 745376 w 1786776"/>
                <a:gd name="connsiteY61" fmla="*/ 1044575 h 1984376"/>
                <a:gd name="connsiteX62" fmla="*/ 745376 w 1786776"/>
                <a:gd name="connsiteY62" fmla="*/ 992188 h 1984376"/>
                <a:gd name="connsiteX63" fmla="*/ 1021601 w 1786776"/>
                <a:gd name="connsiteY63" fmla="*/ 717550 h 1984376"/>
                <a:gd name="connsiteX64" fmla="*/ 1047001 w 1786776"/>
                <a:gd name="connsiteY64" fmla="*/ 690563 h 1984376"/>
                <a:gd name="connsiteX65" fmla="*/ 1054939 w 1786776"/>
                <a:gd name="connsiteY65" fmla="*/ 682625 h 1984376"/>
                <a:gd name="connsiteX66" fmla="*/ 994614 w 1786776"/>
                <a:gd name="connsiteY66" fmla="*/ 411163 h 1984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786776" h="1984376">
                  <a:moveTo>
                    <a:pt x="1282745" y="1874838"/>
                  </a:moveTo>
                  <a:cubicBezTo>
                    <a:pt x="1312993" y="1874838"/>
                    <a:pt x="1337514" y="1899359"/>
                    <a:pt x="1337514" y="1929607"/>
                  </a:cubicBezTo>
                  <a:cubicBezTo>
                    <a:pt x="1337514" y="1959855"/>
                    <a:pt x="1312993" y="1984376"/>
                    <a:pt x="1282745" y="1984376"/>
                  </a:cubicBezTo>
                  <a:cubicBezTo>
                    <a:pt x="1252497" y="1984376"/>
                    <a:pt x="1227976" y="1959855"/>
                    <a:pt x="1227976" y="1929607"/>
                  </a:cubicBezTo>
                  <a:cubicBezTo>
                    <a:pt x="1227976" y="1899359"/>
                    <a:pt x="1252497" y="1874838"/>
                    <a:pt x="1282745" y="1874838"/>
                  </a:cubicBezTo>
                  <a:close/>
                  <a:moveTo>
                    <a:pt x="768989" y="633413"/>
                  </a:moveTo>
                  <a:cubicBezTo>
                    <a:pt x="821748" y="633413"/>
                    <a:pt x="870739" y="644727"/>
                    <a:pt x="915962" y="663583"/>
                  </a:cubicBezTo>
                  <a:cubicBezTo>
                    <a:pt x="915962" y="663583"/>
                    <a:pt x="915962" y="663583"/>
                    <a:pt x="855665" y="723924"/>
                  </a:cubicBezTo>
                  <a:cubicBezTo>
                    <a:pt x="829286" y="716381"/>
                    <a:pt x="799137" y="708839"/>
                    <a:pt x="768989" y="708839"/>
                  </a:cubicBezTo>
                  <a:cubicBezTo>
                    <a:pt x="686081" y="708839"/>
                    <a:pt x="610711" y="742780"/>
                    <a:pt x="550414" y="803121"/>
                  </a:cubicBezTo>
                  <a:cubicBezTo>
                    <a:pt x="429822" y="923802"/>
                    <a:pt x="429822" y="1119909"/>
                    <a:pt x="550414" y="1240590"/>
                  </a:cubicBezTo>
                  <a:cubicBezTo>
                    <a:pt x="610711" y="1300930"/>
                    <a:pt x="686081" y="1331100"/>
                    <a:pt x="768989" y="1331100"/>
                  </a:cubicBezTo>
                  <a:cubicBezTo>
                    <a:pt x="851897" y="1331100"/>
                    <a:pt x="931036" y="1300930"/>
                    <a:pt x="991332" y="1240590"/>
                  </a:cubicBezTo>
                  <a:cubicBezTo>
                    <a:pt x="1074240" y="1157621"/>
                    <a:pt x="1096851" y="1040712"/>
                    <a:pt x="1070471" y="935116"/>
                  </a:cubicBezTo>
                  <a:cubicBezTo>
                    <a:pt x="1070471" y="935116"/>
                    <a:pt x="1070471" y="935116"/>
                    <a:pt x="1126999" y="874775"/>
                  </a:cubicBezTo>
                  <a:cubicBezTo>
                    <a:pt x="1183527" y="1014313"/>
                    <a:pt x="1157147" y="1180249"/>
                    <a:pt x="1044092" y="1293388"/>
                  </a:cubicBezTo>
                  <a:cubicBezTo>
                    <a:pt x="968721" y="1365042"/>
                    <a:pt x="874508" y="1406526"/>
                    <a:pt x="768989" y="1406526"/>
                  </a:cubicBezTo>
                  <a:cubicBezTo>
                    <a:pt x="667239" y="1406526"/>
                    <a:pt x="569257" y="1365042"/>
                    <a:pt x="497655" y="1293388"/>
                  </a:cubicBezTo>
                  <a:cubicBezTo>
                    <a:pt x="346914" y="1142536"/>
                    <a:pt x="346914" y="897403"/>
                    <a:pt x="497655" y="746552"/>
                  </a:cubicBezTo>
                  <a:cubicBezTo>
                    <a:pt x="569257" y="674897"/>
                    <a:pt x="667239" y="633413"/>
                    <a:pt x="768989" y="633413"/>
                  </a:cubicBezTo>
                  <a:close/>
                  <a:moveTo>
                    <a:pt x="1454990" y="388939"/>
                  </a:moveTo>
                  <a:lnTo>
                    <a:pt x="1172415" y="671514"/>
                  </a:lnTo>
                  <a:lnTo>
                    <a:pt x="1353390" y="709614"/>
                  </a:lnTo>
                  <a:lnTo>
                    <a:pt x="1635965" y="427039"/>
                  </a:lnTo>
                  <a:close/>
                  <a:moveTo>
                    <a:pt x="753846" y="248686"/>
                  </a:moveTo>
                  <a:cubicBezTo>
                    <a:pt x="818138" y="247212"/>
                    <a:pt x="882666" y="253578"/>
                    <a:pt x="945781" y="267725"/>
                  </a:cubicBezTo>
                  <a:cubicBezTo>
                    <a:pt x="945781" y="267725"/>
                    <a:pt x="945781" y="267725"/>
                    <a:pt x="881724" y="331856"/>
                  </a:cubicBezTo>
                  <a:cubicBezTo>
                    <a:pt x="844044" y="328084"/>
                    <a:pt x="810131" y="324311"/>
                    <a:pt x="768683" y="324311"/>
                  </a:cubicBezTo>
                  <a:cubicBezTo>
                    <a:pt x="584048" y="324311"/>
                    <a:pt x="410718" y="395988"/>
                    <a:pt x="278836" y="528023"/>
                  </a:cubicBezTo>
                  <a:cubicBezTo>
                    <a:pt x="7536" y="799640"/>
                    <a:pt x="7536" y="1241016"/>
                    <a:pt x="278836" y="1516405"/>
                  </a:cubicBezTo>
                  <a:cubicBezTo>
                    <a:pt x="550136" y="1788021"/>
                    <a:pt x="990998" y="1788021"/>
                    <a:pt x="1262298" y="1516405"/>
                  </a:cubicBezTo>
                  <a:cubicBezTo>
                    <a:pt x="1394179" y="1384369"/>
                    <a:pt x="1465772" y="1207064"/>
                    <a:pt x="1465772" y="1022214"/>
                  </a:cubicBezTo>
                  <a:cubicBezTo>
                    <a:pt x="1465772" y="984490"/>
                    <a:pt x="1465772" y="946765"/>
                    <a:pt x="1458236" y="909041"/>
                  </a:cubicBezTo>
                  <a:lnTo>
                    <a:pt x="1522293" y="844909"/>
                  </a:lnTo>
                  <a:cubicBezTo>
                    <a:pt x="1578814" y="1097663"/>
                    <a:pt x="1510989" y="1373052"/>
                    <a:pt x="1315050" y="1569219"/>
                  </a:cubicBezTo>
                  <a:cubicBezTo>
                    <a:pt x="1266066" y="1618261"/>
                    <a:pt x="1213313" y="1659758"/>
                    <a:pt x="1153024" y="1693710"/>
                  </a:cubicBezTo>
                  <a:cubicBezTo>
                    <a:pt x="1153024" y="1693710"/>
                    <a:pt x="1153024" y="1693710"/>
                    <a:pt x="1247225" y="1821973"/>
                  </a:cubicBezTo>
                  <a:cubicBezTo>
                    <a:pt x="1247225" y="1821973"/>
                    <a:pt x="1247225" y="1821973"/>
                    <a:pt x="1186936" y="1863470"/>
                  </a:cubicBezTo>
                  <a:cubicBezTo>
                    <a:pt x="1186936" y="1863470"/>
                    <a:pt x="1186936" y="1863470"/>
                    <a:pt x="1085199" y="1727662"/>
                  </a:cubicBezTo>
                  <a:cubicBezTo>
                    <a:pt x="987230" y="1772931"/>
                    <a:pt x="877956" y="1795566"/>
                    <a:pt x="768683" y="1795566"/>
                  </a:cubicBezTo>
                  <a:cubicBezTo>
                    <a:pt x="663177" y="1795566"/>
                    <a:pt x="557672" y="1772931"/>
                    <a:pt x="455934" y="1727662"/>
                  </a:cubicBezTo>
                  <a:cubicBezTo>
                    <a:pt x="455934" y="1727662"/>
                    <a:pt x="455934" y="1727662"/>
                    <a:pt x="331589" y="1889877"/>
                  </a:cubicBezTo>
                  <a:cubicBezTo>
                    <a:pt x="331589" y="1889877"/>
                    <a:pt x="331589" y="1889877"/>
                    <a:pt x="1175632" y="1889877"/>
                  </a:cubicBezTo>
                  <a:cubicBezTo>
                    <a:pt x="1175632" y="1889877"/>
                    <a:pt x="1175632" y="1889877"/>
                    <a:pt x="1175632" y="1965326"/>
                  </a:cubicBezTo>
                  <a:cubicBezTo>
                    <a:pt x="1175632" y="1965326"/>
                    <a:pt x="1175632" y="1965326"/>
                    <a:pt x="180867" y="1965326"/>
                  </a:cubicBezTo>
                  <a:cubicBezTo>
                    <a:pt x="180867" y="1965326"/>
                    <a:pt x="180867" y="1965326"/>
                    <a:pt x="388109" y="1693710"/>
                  </a:cubicBezTo>
                  <a:cubicBezTo>
                    <a:pt x="331589" y="1659758"/>
                    <a:pt x="275068" y="1618261"/>
                    <a:pt x="226083" y="1569219"/>
                  </a:cubicBezTo>
                  <a:cubicBezTo>
                    <a:pt x="-75361" y="1267423"/>
                    <a:pt x="-75361" y="777005"/>
                    <a:pt x="226083" y="475209"/>
                  </a:cubicBezTo>
                  <a:cubicBezTo>
                    <a:pt x="370211" y="328084"/>
                    <a:pt x="560969" y="253106"/>
                    <a:pt x="753846" y="248686"/>
                  </a:cubicBezTo>
                  <a:close/>
                  <a:moveTo>
                    <a:pt x="1361328" y="150814"/>
                  </a:moveTo>
                  <a:lnTo>
                    <a:pt x="1077165" y="434977"/>
                  </a:lnTo>
                  <a:lnTo>
                    <a:pt x="1120028" y="619127"/>
                  </a:lnTo>
                  <a:lnTo>
                    <a:pt x="1394666" y="344489"/>
                  </a:lnTo>
                  <a:lnTo>
                    <a:pt x="1402603" y="336552"/>
                  </a:lnTo>
                  <a:close/>
                  <a:moveTo>
                    <a:pt x="1405776" y="0"/>
                  </a:moveTo>
                  <a:lnTo>
                    <a:pt x="1474039" y="317500"/>
                  </a:lnTo>
                  <a:lnTo>
                    <a:pt x="1786776" y="381000"/>
                  </a:lnTo>
                  <a:lnTo>
                    <a:pt x="1378789" y="792163"/>
                  </a:lnTo>
                  <a:lnTo>
                    <a:pt x="1107326" y="736600"/>
                  </a:lnTo>
                  <a:lnTo>
                    <a:pt x="1100976" y="739775"/>
                  </a:lnTo>
                  <a:lnTo>
                    <a:pt x="799351" y="1044575"/>
                  </a:lnTo>
                  <a:lnTo>
                    <a:pt x="745376" y="1044575"/>
                  </a:lnTo>
                  <a:lnTo>
                    <a:pt x="745376" y="992188"/>
                  </a:lnTo>
                  <a:lnTo>
                    <a:pt x="1021601" y="717550"/>
                  </a:lnTo>
                  <a:lnTo>
                    <a:pt x="1047001" y="690563"/>
                  </a:lnTo>
                  <a:lnTo>
                    <a:pt x="1054939" y="682625"/>
                  </a:lnTo>
                  <a:lnTo>
                    <a:pt x="994614" y="41116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4E6D2A6-D302-6E4B-B19F-1978AC7B0D09}"/>
                </a:ext>
              </a:extLst>
            </p:cNvPr>
            <p:cNvSpPr/>
            <p:nvPr/>
          </p:nvSpPr>
          <p:spPr>
            <a:xfrm>
              <a:off x="3630763" y="4938182"/>
              <a:ext cx="395699" cy="395699"/>
            </a:xfrm>
            <a:prstGeom prst="ellipse">
              <a:avLst/>
            </a:prstGeom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5F8C9B6-3633-F14C-A62D-3ECFFBE1761C}"/>
                </a:ext>
              </a:extLst>
            </p:cNvPr>
            <p:cNvSpPr/>
            <p:nvPr/>
          </p:nvSpPr>
          <p:spPr>
            <a:xfrm>
              <a:off x="3017540" y="4221151"/>
              <a:ext cx="395699" cy="395699"/>
            </a:xfrm>
            <a:prstGeom prst="ellipse">
              <a:avLst/>
            </a:prstGeom>
            <a:solidFill>
              <a:schemeClr val="accent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380B44A-57BF-1642-8CF4-33EEA2F6961D}"/>
                </a:ext>
              </a:extLst>
            </p:cNvPr>
            <p:cNvSpPr/>
            <p:nvPr/>
          </p:nvSpPr>
          <p:spPr>
            <a:xfrm>
              <a:off x="2986428" y="3243048"/>
              <a:ext cx="395699" cy="395699"/>
            </a:xfrm>
            <a:prstGeom prst="ellipse">
              <a:avLst/>
            </a:prstGeom>
            <a:solidFill>
              <a:schemeClr val="accent3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0CB48B6-5BBB-394A-AB39-82C827E3089C}"/>
                </a:ext>
              </a:extLst>
            </p:cNvPr>
            <p:cNvSpPr/>
            <p:nvPr/>
          </p:nvSpPr>
          <p:spPr>
            <a:xfrm>
              <a:off x="3633865" y="2397219"/>
              <a:ext cx="395699" cy="395699"/>
            </a:xfrm>
            <a:prstGeom prst="ellipse">
              <a:avLst/>
            </a:prstGeom>
            <a:solidFill>
              <a:srgbClr val="002060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4F494F5-7756-7840-8F0B-6A7D97FCF4E6}"/>
                </a:ext>
              </a:extLst>
            </p:cNvPr>
            <p:cNvSpPr/>
            <p:nvPr/>
          </p:nvSpPr>
          <p:spPr>
            <a:xfrm>
              <a:off x="5345148" y="2397219"/>
              <a:ext cx="395699" cy="395699"/>
            </a:xfrm>
            <a:prstGeom prst="ellipse">
              <a:avLst/>
            </a:prstGeom>
            <a:solidFill>
              <a:srgbClr val="0070C0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E41D346-52E3-6343-A1F6-A42C86ED07F2}"/>
                </a:ext>
              </a:extLst>
            </p:cNvPr>
            <p:cNvSpPr/>
            <p:nvPr/>
          </p:nvSpPr>
          <p:spPr>
            <a:xfrm>
              <a:off x="5914851" y="3243048"/>
              <a:ext cx="395699" cy="395699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4EFA375-4AF0-2E4B-91EF-052119BFE99C}"/>
                </a:ext>
              </a:extLst>
            </p:cNvPr>
            <p:cNvSpPr/>
            <p:nvPr/>
          </p:nvSpPr>
          <p:spPr>
            <a:xfrm>
              <a:off x="5908983" y="4215835"/>
              <a:ext cx="395699" cy="39569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6494353-0843-A44F-8B61-068164ADA376}"/>
                </a:ext>
              </a:extLst>
            </p:cNvPr>
            <p:cNvSpPr/>
            <p:nvPr/>
          </p:nvSpPr>
          <p:spPr>
            <a:xfrm>
              <a:off x="5345148" y="4938182"/>
              <a:ext cx="395699" cy="395699"/>
            </a:xfrm>
            <a:prstGeom prst="ellipse">
              <a:avLst/>
            </a:prstGeom>
            <a:solidFill>
              <a:srgbClr val="0070C0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467E9BB-7696-7F48-A274-B61D067D5858}"/>
                </a:ext>
              </a:extLst>
            </p:cNvPr>
            <p:cNvSpPr/>
            <p:nvPr/>
          </p:nvSpPr>
          <p:spPr>
            <a:xfrm>
              <a:off x="613183" y="2770442"/>
              <a:ext cx="2511778" cy="2504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8B6E60-5238-8E49-8847-4F88B2690038}"/>
                </a:ext>
              </a:extLst>
            </p:cNvPr>
            <p:cNvSpPr/>
            <p:nvPr/>
          </p:nvSpPr>
          <p:spPr>
            <a:xfrm>
              <a:off x="613182" y="5003897"/>
              <a:ext cx="2511778" cy="4759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Transparent, comparable reports on progres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8435A77-7334-5644-86C4-DE88AD2D54E9}"/>
                </a:ext>
              </a:extLst>
            </p:cNvPr>
            <p:cNvSpPr/>
            <p:nvPr/>
          </p:nvSpPr>
          <p:spPr>
            <a:xfrm>
              <a:off x="642453" y="1756488"/>
              <a:ext cx="2886994" cy="4759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Network of leading-edge VET developers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A98009E-2BE1-0D42-9ED2-E048EA08DD10}"/>
                </a:ext>
              </a:extLst>
            </p:cNvPr>
            <p:cNvCxnSpPr/>
            <p:nvPr/>
          </p:nvCxnSpPr>
          <p:spPr>
            <a:xfrm flipH="1">
              <a:off x="566738" y="4413684"/>
              <a:ext cx="2745051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75DDDA6-C3EC-8F45-8A1C-908E4FBACDEC}"/>
                </a:ext>
              </a:extLst>
            </p:cNvPr>
            <p:cNvCxnSpPr/>
            <p:nvPr/>
          </p:nvCxnSpPr>
          <p:spPr>
            <a:xfrm>
              <a:off x="6001151" y="4413684"/>
              <a:ext cx="2585962" cy="0"/>
            </a:xfrm>
            <a:prstGeom prst="line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5935D7A-F25B-DE42-A114-B771F32088AB}"/>
                </a:ext>
              </a:extLst>
            </p:cNvPr>
            <p:cNvCxnSpPr/>
            <p:nvPr/>
          </p:nvCxnSpPr>
          <p:spPr>
            <a:xfrm>
              <a:off x="6001151" y="3419508"/>
              <a:ext cx="2585962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ECE7053B-7833-8648-A397-99A1D0B6C6C5}"/>
                </a:ext>
              </a:extLst>
            </p:cNvPr>
            <p:cNvSpPr/>
            <p:nvPr/>
          </p:nvSpPr>
          <p:spPr>
            <a:xfrm>
              <a:off x="590550" y="2352675"/>
              <a:ext cx="3219450" cy="209550"/>
            </a:xfrm>
            <a:custGeom>
              <a:avLst/>
              <a:gdLst>
                <a:gd name="connsiteX0" fmla="*/ 3219450 w 3219450"/>
                <a:gd name="connsiteY0" fmla="*/ 209550 h 209550"/>
                <a:gd name="connsiteX1" fmla="*/ 3009900 w 3219450"/>
                <a:gd name="connsiteY1" fmla="*/ 0 h 209550"/>
                <a:gd name="connsiteX2" fmla="*/ 0 w 3219450"/>
                <a:gd name="connsiteY2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19450" h="209550">
                  <a:moveTo>
                    <a:pt x="3219450" y="209550"/>
                  </a:moveTo>
                  <a:lnTo>
                    <a:pt x="300990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206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9ECCFCE1-15A3-DF4E-ABA4-C851D5B3E05A}"/>
                </a:ext>
              </a:extLst>
            </p:cNvPr>
            <p:cNvSpPr/>
            <p:nvPr/>
          </p:nvSpPr>
          <p:spPr>
            <a:xfrm flipH="1">
              <a:off x="5529867" y="2346542"/>
              <a:ext cx="3057246" cy="209550"/>
            </a:xfrm>
            <a:custGeom>
              <a:avLst/>
              <a:gdLst>
                <a:gd name="connsiteX0" fmla="*/ 3219450 w 3219450"/>
                <a:gd name="connsiteY0" fmla="*/ 209550 h 209550"/>
                <a:gd name="connsiteX1" fmla="*/ 3009900 w 3219450"/>
                <a:gd name="connsiteY1" fmla="*/ 0 h 209550"/>
                <a:gd name="connsiteX2" fmla="*/ 0 w 3219450"/>
                <a:gd name="connsiteY2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19450" h="209550">
                  <a:moveTo>
                    <a:pt x="3219450" y="209550"/>
                  </a:moveTo>
                  <a:lnTo>
                    <a:pt x="300990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70C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73B9B01D-BB04-E246-BF41-34BD62BED650}"/>
                </a:ext>
              </a:extLst>
            </p:cNvPr>
            <p:cNvSpPr/>
            <p:nvPr/>
          </p:nvSpPr>
          <p:spPr>
            <a:xfrm flipV="1">
              <a:off x="571499" y="5245742"/>
              <a:ext cx="3190875" cy="209550"/>
            </a:xfrm>
            <a:custGeom>
              <a:avLst/>
              <a:gdLst>
                <a:gd name="connsiteX0" fmla="*/ 3219450 w 3219450"/>
                <a:gd name="connsiteY0" fmla="*/ 209550 h 209550"/>
                <a:gd name="connsiteX1" fmla="*/ 3009900 w 3219450"/>
                <a:gd name="connsiteY1" fmla="*/ 0 h 209550"/>
                <a:gd name="connsiteX2" fmla="*/ 0 w 3219450"/>
                <a:gd name="connsiteY2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19450" h="209550">
                  <a:moveTo>
                    <a:pt x="3219450" y="209550"/>
                  </a:moveTo>
                  <a:lnTo>
                    <a:pt x="300990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D968687-AA91-F346-B857-B0C29E6AF3DC}"/>
                </a:ext>
              </a:extLst>
            </p:cNvPr>
            <p:cNvSpPr/>
            <p:nvPr/>
          </p:nvSpPr>
          <p:spPr>
            <a:xfrm flipH="1" flipV="1">
              <a:off x="5619475" y="5245742"/>
              <a:ext cx="2967638" cy="209550"/>
            </a:xfrm>
            <a:custGeom>
              <a:avLst/>
              <a:gdLst>
                <a:gd name="connsiteX0" fmla="*/ 3219450 w 3219450"/>
                <a:gd name="connsiteY0" fmla="*/ 209550 h 209550"/>
                <a:gd name="connsiteX1" fmla="*/ 3009900 w 3219450"/>
                <a:gd name="connsiteY1" fmla="*/ 0 h 209550"/>
                <a:gd name="connsiteX2" fmla="*/ 0 w 3219450"/>
                <a:gd name="connsiteY2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19450" h="209550">
                  <a:moveTo>
                    <a:pt x="3219450" y="209550"/>
                  </a:moveTo>
                  <a:lnTo>
                    <a:pt x="300990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70C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5A5A66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EE05E75-A37C-4349-AB66-12F8319D1E91}"/>
                </a:ext>
              </a:extLst>
            </p:cNvPr>
            <p:cNvSpPr/>
            <p:nvPr/>
          </p:nvSpPr>
          <p:spPr>
            <a:xfrm>
              <a:off x="638585" y="2914480"/>
              <a:ext cx="1971096" cy="4759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Attract high quality staff and students to VET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84102F08-BBFC-CB4C-81E3-C72935AE9891}"/>
                </a:ext>
              </a:extLst>
            </p:cNvPr>
            <p:cNvCxnSpPr/>
            <p:nvPr/>
          </p:nvCxnSpPr>
          <p:spPr>
            <a:xfrm flipH="1">
              <a:off x="566738" y="3440897"/>
              <a:ext cx="27450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4E7F9ED-6BA2-0642-AAF7-43910A14F2B6}"/>
                </a:ext>
              </a:extLst>
            </p:cNvPr>
            <p:cNvSpPr/>
            <p:nvPr/>
          </p:nvSpPr>
          <p:spPr>
            <a:xfrm>
              <a:off x="6292432" y="3956095"/>
              <a:ext cx="2670432" cy="4759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Opportunities for innovation and peer learning nationally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3C9678F-7C89-5640-8FA1-749E04B7B117}"/>
                </a:ext>
              </a:extLst>
            </p:cNvPr>
            <p:cNvSpPr/>
            <p:nvPr/>
          </p:nvSpPr>
          <p:spPr>
            <a:xfrm>
              <a:off x="6303987" y="2938279"/>
              <a:ext cx="2709205" cy="4759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Roadmap for development of operations, centers, human capital 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AF889F7-3F32-F344-B1FF-E55C5AC70385}"/>
                </a:ext>
              </a:extLst>
            </p:cNvPr>
            <p:cNvSpPr/>
            <p:nvPr/>
          </p:nvSpPr>
          <p:spPr>
            <a:xfrm>
              <a:off x="5939529" y="1877063"/>
              <a:ext cx="2709205" cy="4759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International networks - new perspective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95A80CE-7409-F546-BC27-5C130C0C2673}"/>
                </a:ext>
              </a:extLst>
            </p:cNvPr>
            <p:cNvSpPr/>
            <p:nvPr/>
          </p:nvSpPr>
          <p:spPr>
            <a:xfrm>
              <a:off x="6102757" y="4821504"/>
              <a:ext cx="2754608" cy="6762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/>
                <a:t>Future oriented development - link to national anticipation and skills forecasting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CADBEC98-B78B-434C-A371-CB61F5993587}"/>
              </a:ext>
            </a:extLst>
          </p:cNvPr>
          <p:cNvSpPr/>
          <p:nvPr/>
        </p:nvSpPr>
        <p:spPr>
          <a:xfrm>
            <a:off x="1303547" y="4079994"/>
            <a:ext cx="23798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Driving national-level quality of VET</a:t>
            </a:r>
          </a:p>
        </p:txBody>
      </p:sp>
      <p:sp>
        <p:nvSpPr>
          <p:cNvPr id="32" name="Title 3">
            <a:extLst>
              <a:ext uri="{FF2B5EF4-FFF2-40B4-BE49-F238E27FC236}">
                <a16:creationId xmlns:a16="http://schemas.microsoft.com/office/drawing/2014/main" id="{6D05421A-9A8B-B24E-B4A6-A9D317CB3C06}"/>
              </a:ext>
            </a:extLst>
          </p:cNvPr>
          <p:cNvSpPr txBox="1">
            <a:spLocks/>
          </p:cNvSpPr>
          <p:nvPr/>
        </p:nvSpPr>
        <p:spPr>
          <a:xfrm>
            <a:off x="153580" y="351252"/>
            <a:ext cx="12662992" cy="492147"/>
          </a:xfrm>
          <a:prstGeom prst="rect">
            <a:avLst/>
          </a:prstGeom>
        </p:spPr>
        <p:txBody>
          <a:bodyPr vert="horz" lIns="91428" tIns="45714" rIns="91428" bIns="45714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sz="2800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BENEFITS OF THE VET EXCELLENCE PROCE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D53A9A-F2FA-A843-BFBC-4EC0FFFD6B8A}"/>
              </a:ext>
            </a:extLst>
          </p:cNvPr>
          <p:cNvSpPr txBox="1"/>
          <p:nvPr/>
        </p:nvSpPr>
        <p:spPr>
          <a:xfrm>
            <a:off x="5290663" y="2419200"/>
            <a:ext cx="21065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Excellence </a:t>
            </a:r>
          </a:p>
          <a:p>
            <a:pPr algn="ctr"/>
            <a:r>
              <a:rPr lang="en-US" b="1" dirty="0"/>
              <a:t>benefits staff, students and stakeholders</a:t>
            </a:r>
          </a:p>
        </p:txBody>
      </p:sp>
      <p:sp>
        <p:nvSpPr>
          <p:cNvPr id="3" name="Google Shape;139;p5">
            <a:extLst>
              <a:ext uri="{FF2B5EF4-FFF2-40B4-BE49-F238E27FC236}">
                <a16:creationId xmlns:a16="http://schemas.microsoft.com/office/drawing/2014/main" id="{8F41CCB3-495C-B7C7-96C6-F21E1ABADC3D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5062157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8CCCB6D-5162-4AAE-A5E3-3AC55410DB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7364" cy="68595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CD8C04-CC7B-40EF-82EB-E9821F79BB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69" y="2458"/>
            <a:ext cx="12187363" cy="685958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D01BEA08-854F-454F-835F-7D099B6543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15"/>
          <a:stretch/>
        </p:blipFill>
        <p:spPr>
          <a:xfrm>
            <a:off x="-169" y="10"/>
            <a:ext cx="8449215" cy="6859577"/>
          </a:xfrm>
          <a:prstGeom prst="rect">
            <a:avLst/>
          </a:prstGeom>
          <a:solidFill>
            <a:srgbClr val="002353"/>
          </a:solidFill>
        </p:spPr>
      </p:pic>
      <p:sp>
        <p:nvSpPr>
          <p:cNvPr id="2" name="Google Shape;394;p10">
            <a:extLst>
              <a:ext uri="{FF2B5EF4-FFF2-40B4-BE49-F238E27FC236}">
                <a16:creationId xmlns:a16="http://schemas.microsoft.com/office/drawing/2014/main" id="{FB4CDAE4-4DA9-3BCC-B9E0-2B1F4DD538D1}"/>
              </a:ext>
            </a:extLst>
          </p:cNvPr>
          <p:cNvSpPr txBox="1"/>
          <p:nvPr/>
        </p:nvSpPr>
        <p:spPr>
          <a:xfrm>
            <a:off x="643384" y="643615"/>
            <a:ext cx="4619982" cy="4568195"/>
          </a:xfrm>
          <a:prstGeom prst="rect">
            <a:avLst/>
          </a:prstGeom>
        </p:spPr>
        <p:txBody>
          <a:bodyPr spcFirstLastPara="1" vert="horz" lIns="91440" tIns="45720" rIns="91440" bIns="45720" rtlCol="0" anchor="b" anchorCtr="0">
            <a:normAutofit fontScale="925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800"/>
            </a:pPr>
            <a:endParaRPr lang="en-US" sz="24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 ExtraBold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800"/>
            </a:pPr>
            <a:endParaRPr lang="en-US" sz="24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 ExtraBold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endParaRPr lang="en-US" sz="24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r>
              <a:rPr lang="en-US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  <a:sym typeface="Open Sans ExtraBold"/>
              </a:rPr>
              <a:t>EXCELLENCE COMES IN MANY SHAPES AND SIZES!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endParaRPr lang="en-US" sz="36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 ExtraBold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r>
              <a:rPr lang="en-US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  <a:sym typeface="Open Sans ExtraBold"/>
              </a:rPr>
              <a:t>THANK YOU!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endParaRPr lang="en-US" sz="24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 ExtraBold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endParaRPr lang="en-US" sz="24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 ExtraBold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endParaRPr lang="en-US" sz="24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 ExtraBold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r>
              <a:rPr lang="en-US" sz="24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  <a:sym typeface="Open Sans"/>
              </a:rPr>
              <a:t>Mervi Jansson</a:t>
            </a:r>
            <a:br>
              <a:rPr lang="en-US" sz="24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  <a:sym typeface="Open Sans"/>
              </a:rPr>
            </a:br>
            <a:r>
              <a:rPr lang="en-US" sz="24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  <a:sym typeface="Open Sans"/>
              </a:rPr>
              <a:t> </a:t>
            </a:r>
            <a:r>
              <a:rPr lang="en-US" sz="2400" b="1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  <a:sym typeface="Open Sans"/>
              </a:rPr>
              <a:t>www.oep.fi</a:t>
            </a:r>
            <a:endParaRPr lang="en-US" sz="2400" b="1" kern="1200" dirty="0">
              <a:solidFill>
                <a:srgbClr val="FFFFFF"/>
              </a:solidFill>
              <a:latin typeface="+mj-lt"/>
              <a:ea typeface="+mj-ea"/>
              <a:cs typeface="+mj-cs"/>
              <a:sym typeface="Open Sans ExtraBold"/>
            </a:endParaRPr>
          </a:p>
        </p:txBody>
      </p:sp>
      <p:pic>
        <p:nvPicPr>
          <p:cNvPr id="3" name="Picture 2" descr="Blue glass containing various drinking straws">
            <a:extLst>
              <a:ext uri="{FF2B5EF4-FFF2-40B4-BE49-F238E27FC236}">
                <a16:creationId xmlns:a16="http://schemas.microsoft.com/office/drawing/2014/main" id="{45F99C00-873A-0859-CBEC-65BDD4D7C2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04" r="20780" b="-1"/>
          <a:stretch/>
        </p:blipFill>
        <p:spPr>
          <a:xfrm>
            <a:off x="6225186" y="-2458"/>
            <a:ext cx="5962008" cy="6859586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99528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Kaavio 38">
            <a:extLst>
              <a:ext uri="{FF2B5EF4-FFF2-40B4-BE49-F238E27FC236}">
                <a16:creationId xmlns:a16="http://schemas.microsoft.com/office/drawing/2014/main" id="{93E5AACA-2181-4DDB-9422-B51B2EA7D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/>
        </p:nvGraphicFramePr>
        <p:xfrm>
          <a:off x="3028570" y="1717953"/>
          <a:ext cx="5654450" cy="3802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tsikko 7">
            <a:extLst>
              <a:ext uri="{FF2B5EF4-FFF2-40B4-BE49-F238E27FC236}">
                <a16:creationId xmlns:a16="http://schemas.microsoft.com/office/drawing/2014/main" id="{6673ACE1-CF4C-4E91-A1C1-222981BFC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051" y="114862"/>
            <a:ext cx="10514231" cy="132539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i-FI" dirty="0"/>
              <a:t>OEP - A PART OF THE OMNIA GROUP</a:t>
            </a:r>
          </a:p>
        </p:txBody>
      </p:sp>
      <p:sp>
        <p:nvSpPr>
          <p:cNvPr id="2" name="Tekstiruutu 1">
            <a:extLst>
              <a:ext uri="{FF2B5EF4-FFF2-40B4-BE49-F238E27FC236}">
                <a16:creationId xmlns:a16="http://schemas.microsoft.com/office/drawing/2014/main" id="{E6823D8E-A956-412D-A2AC-EE04DE73A4FB}"/>
              </a:ext>
            </a:extLst>
          </p:cNvPr>
          <p:cNvSpPr txBox="1"/>
          <p:nvPr/>
        </p:nvSpPr>
        <p:spPr>
          <a:xfrm>
            <a:off x="550151" y="1894947"/>
            <a:ext cx="2687932" cy="1588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3944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defRPr/>
            </a:pPr>
            <a:r>
              <a:rPr lang="fi-FI" sz="2400" b="1" spc="200" baseline="6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1200</a:t>
            </a:r>
            <a:r>
              <a:rPr lang="fi-FI" sz="2000" b="1" baseline="6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taff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members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</a:p>
          <a:p>
            <a:pPr algn="r" defTabSz="913944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defRPr/>
            </a:pP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Annual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budget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sz="2000" spc="2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sz="2400" b="1" spc="200" baseline="6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95 M€</a:t>
            </a:r>
            <a:endParaRPr lang="fi-FI" sz="2400" b="1" baseline="30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algn="r" defTabSz="913944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defRPr/>
            </a:pPr>
            <a:r>
              <a:rPr lang="fi-FI" sz="24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3000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Public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ivate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artnerships</a:t>
            </a:r>
            <a:endParaRPr lang="fi-FI" sz="2400" b="1" spc="200" baseline="6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defTabSz="457154">
              <a:lnSpc>
                <a:spcPts val="1700"/>
              </a:lnSpc>
              <a:spcBef>
                <a:spcPts val="600"/>
              </a:spcBef>
              <a:defRPr/>
            </a:pPr>
            <a:endParaRPr lang="fi-FI" sz="2800" spc="200" baseline="16000" dirty="0">
              <a:solidFill>
                <a:prstClr val="black"/>
              </a:solidFill>
              <a:latin typeface="Arial Black"/>
            </a:endParaRPr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243F38D5-BD08-48C3-A40E-5B991AEC45A3}"/>
              </a:ext>
            </a:extLst>
          </p:cNvPr>
          <p:cNvSpPr txBox="1"/>
          <p:nvPr/>
        </p:nvSpPr>
        <p:spPr>
          <a:xfrm>
            <a:off x="7820006" y="2108106"/>
            <a:ext cx="4504686" cy="1169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4">
              <a:lnSpc>
                <a:spcPts val="1800"/>
              </a:lnSpc>
              <a:spcBef>
                <a:spcPts val="600"/>
              </a:spcBef>
              <a:defRPr/>
            </a:pPr>
            <a:r>
              <a:rPr lang="en-US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Vocational Qualifications  </a:t>
            </a:r>
            <a:r>
              <a:rPr lang="fi-FI" sz="2400" b="1" spc="200" baseline="6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13000</a:t>
            </a:r>
          </a:p>
          <a:p>
            <a:pPr defTabSz="913944">
              <a:lnSpc>
                <a:spcPts val="1800"/>
              </a:lnSpc>
              <a:spcBef>
                <a:spcPts val="600"/>
              </a:spcBef>
              <a:defRPr/>
            </a:pPr>
            <a:r>
              <a:rPr lang="en-US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ofessional Development </a:t>
            </a:r>
            <a:br>
              <a:rPr lang="en-US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en-US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and upskilling courses </a:t>
            </a:r>
            <a:r>
              <a:rPr lang="fi-FI" sz="2400" b="1" spc="200" baseline="6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17000</a:t>
            </a:r>
            <a:endParaRPr lang="fi-FI" sz="2400" b="1" baseline="30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defTabSz="913944">
              <a:lnSpc>
                <a:spcPts val="1800"/>
              </a:lnSpc>
              <a:spcBef>
                <a:spcPts val="600"/>
              </a:spcBef>
              <a:defRPr/>
            </a:pPr>
            <a:r>
              <a:rPr lang="en-US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Liberal Adult Education Courses  </a:t>
            </a:r>
            <a:r>
              <a:rPr lang="fi-FI" sz="2400" b="1" spc="200" baseline="6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20000</a:t>
            </a:r>
            <a:endParaRPr lang="fi-FI" sz="2400" b="1" spc="200" baseline="16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CEEDC0BB-D923-43E8-B956-15169FC221DF}"/>
              </a:ext>
            </a:extLst>
          </p:cNvPr>
          <p:cNvSpPr txBox="1"/>
          <p:nvPr/>
        </p:nvSpPr>
        <p:spPr>
          <a:xfrm>
            <a:off x="1209636" y="3534084"/>
            <a:ext cx="4114027" cy="1155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4">
              <a:lnSpc>
                <a:spcPts val="1800"/>
              </a:lnSpc>
              <a:spcBef>
                <a:spcPts val="600"/>
              </a:spcBef>
              <a:defRPr/>
            </a:pPr>
            <a:br>
              <a:rPr lang="fi-FI" sz="24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fi-FI" sz="2400" b="1" spc="200" baseline="6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123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nationalities</a:t>
            </a:r>
            <a:endParaRPr lang="fi-FI" sz="2000" baseline="30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defTabSz="913944">
              <a:lnSpc>
                <a:spcPts val="1800"/>
              </a:lnSpc>
              <a:spcBef>
                <a:spcPts val="600"/>
              </a:spcBef>
              <a:defRPr/>
            </a:pPr>
            <a:r>
              <a:rPr lang="fi-FI" sz="20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Center of </a:t>
            </a:r>
            <a:r>
              <a:rPr lang="fi-FI" sz="20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Vocational</a:t>
            </a:r>
            <a:r>
              <a:rPr lang="fi-FI" sz="20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sz="20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xcellence</a:t>
            </a:r>
            <a:endParaRPr lang="fi-FI" sz="2000" b="1" baseline="30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defTabSz="913944">
              <a:lnSpc>
                <a:spcPts val="1800"/>
              </a:lnSpc>
              <a:spcBef>
                <a:spcPts val="600"/>
              </a:spcBef>
              <a:defRPr/>
            </a:pPr>
            <a:r>
              <a:rPr lang="fi-FI" sz="20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UNEVOC </a:t>
            </a:r>
            <a:r>
              <a:rPr lang="fi-FI" sz="20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iHUB</a:t>
            </a:r>
            <a:endParaRPr lang="fi-FI" sz="2000" b="1" baseline="30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C48EBC64-AA18-41CE-BA49-2EB20D99B7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507344" y="3212719"/>
            <a:ext cx="811053" cy="811053"/>
          </a:xfrm>
          <a:prstGeom prst="rect">
            <a:avLst/>
          </a:prstGeom>
        </p:spPr>
      </p:pic>
      <p:sp>
        <p:nvSpPr>
          <p:cNvPr id="26" name="Suorakulmio 25">
            <a:extLst>
              <a:ext uri="{FF2B5EF4-FFF2-40B4-BE49-F238E27FC236}">
                <a16:creationId xmlns:a16="http://schemas.microsoft.com/office/drawing/2014/main" id="{16376B5F-7D6F-44B6-A69C-7663CE1F9E7F}"/>
              </a:ext>
            </a:extLst>
          </p:cNvPr>
          <p:cNvSpPr/>
          <p:nvPr/>
        </p:nvSpPr>
        <p:spPr>
          <a:xfrm>
            <a:off x="1256596" y="3340892"/>
            <a:ext cx="2366627" cy="369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54">
              <a:defRPr/>
            </a:pPr>
            <a:r>
              <a:rPr lang="fi-FI" spc="100" dirty="0">
                <a:solidFill>
                  <a:prstClr val="black"/>
                </a:solidFill>
                <a:latin typeface="Arial Black"/>
              </a:rPr>
              <a:t>International</a:t>
            </a:r>
          </a:p>
        </p:txBody>
      </p:sp>
      <p:sp>
        <p:nvSpPr>
          <p:cNvPr id="50" name="Tekstiruutu 49">
            <a:extLst>
              <a:ext uri="{FF2B5EF4-FFF2-40B4-BE49-F238E27FC236}">
                <a16:creationId xmlns:a16="http://schemas.microsoft.com/office/drawing/2014/main" id="{6022B904-EF8D-4124-8BB2-824E1BEA8FEB}"/>
              </a:ext>
            </a:extLst>
          </p:cNvPr>
          <p:cNvSpPr txBox="1"/>
          <p:nvPr/>
        </p:nvSpPr>
        <p:spPr>
          <a:xfrm>
            <a:off x="7453493" y="4041768"/>
            <a:ext cx="3559788" cy="1437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154">
              <a:lnSpc>
                <a:spcPts val="1700"/>
              </a:lnSpc>
              <a:spcBef>
                <a:spcPts val="600"/>
              </a:spcBef>
              <a:defRPr/>
            </a:pP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fit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nicipality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wned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algn="r" defTabSz="457154">
              <a:lnSpc>
                <a:spcPts val="1700"/>
              </a:lnSpc>
              <a:spcBef>
                <a:spcPts val="600"/>
              </a:spcBef>
              <a:defRPr/>
            </a:pPr>
            <a:r>
              <a:rPr lang="fi-FI" sz="24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</a:t>
            </a:r>
            <a:r>
              <a:rPr lang="fi-FI" sz="24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int</a:t>
            </a:r>
            <a:r>
              <a:rPr lang="fi-FI" sz="24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</a:t>
            </a:r>
            <a:r>
              <a:rPr lang="fi-FI" sz="24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hority</a:t>
            </a:r>
            <a:r>
              <a:rPr lang="fi-FI" sz="24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f E</a:t>
            </a:r>
            <a:r>
              <a:rPr lang="fi-FI" sz="24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cation</a:t>
            </a:r>
            <a:endParaRPr lang="fi-FI" sz="2400" b="1" baseline="30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 defTabSz="457154">
              <a:lnSpc>
                <a:spcPts val="1700"/>
              </a:lnSpc>
              <a:spcBef>
                <a:spcPts val="600"/>
              </a:spcBef>
              <a:defRPr/>
            </a:pP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rnational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ultancy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fi-FI" sz="2000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m</a:t>
            </a:r>
            <a:r>
              <a:rPr lang="fi-FI" sz="2000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 </a:t>
            </a:r>
          </a:p>
          <a:p>
            <a:pPr algn="r" defTabSz="457154">
              <a:lnSpc>
                <a:spcPts val="1700"/>
              </a:lnSpc>
              <a:spcBef>
                <a:spcPts val="600"/>
              </a:spcBef>
              <a:defRPr/>
            </a:pPr>
            <a:r>
              <a:rPr lang="fi-FI" sz="24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EP - Omnia </a:t>
            </a:r>
            <a:r>
              <a:rPr lang="fi-FI" sz="24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ducation</a:t>
            </a:r>
            <a:r>
              <a:rPr lang="fi-FI" sz="2400" b="1" baseline="30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fi-FI" sz="2400" b="1" baseline="300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tnerships</a:t>
            </a:r>
            <a:r>
              <a:rPr lang="fi-FI" sz="24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fi-FI" sz="2400" b="1" baseline="30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5" name="Ryhmä 24">
            <a:extLst>
              <a:ext uri="{FF2B5EF4-FFF2-40B4-BE49-F238E27FC236}">
                <a16:creationId xmlns:a16="http://schemas.microsoft.com/office/drawing/2014/main" id="{9CA78AE8-50B2-4209-BB9D-06BB3B063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2861" y="1494827"/>
            <a:ext cx="5268906" cy="763566"/>
            <a:chOff x="460382" y="1600916"/>
            <a:chExt cx="5269592" cy="763665"/>
          </a:xfrm>
        </p:grpSpPr>
        <p:pic>
          <p:nvPicPr>
            <p:cNvPr id="36" name="Kuva 35" descr="Ryhmittele">
              <a:extLst>
                <a:ext uri="{FF2B5EF4-FFF2-40B4-BE49-F238E27FC236}">
                  <a16:creationId xmlns:a16="http://schemas.microsoft.com/office/drawing/2014/main" id="{3AC2FB09-E8D0-4CE2-BC9C-7C4BFA881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60382" y="1600916"/>
              <a:ext cx="763665" cy="763665"/>
            </a:xfrm>
            <a:prstGeom prst="rect">
              <a:avLst/>
            </a:prstGeom>
          </p:spPr>
        </p:pic>
        <p:cxnSp>
          <p:nvCxnSpPr>
            <p:cNvPr id="48" name="Suora nuoliyhdysviiva 47">
              <a:extLst>
                <a:ext uri="{FF2B5EF4-FFF2-40B4-BE49-F238E27FC236}">
                  <a16:creationId xmlns:a16="http://schemas.microsoft.com/office/drawing/2014/main" id="{8F7D9095-902A-4805-B407-A91D5757C47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97756" y="1903637"/>
              <a:ext cx="4632218" cy="0"/>
            </a:xfrm>
            <a:prstGeom prst="straightConnector1">
              <a:avLst/>
            </a:prstGeom>
            <a:ln w="3175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Ryhmä 23">
            <a:extLst>
              <a:ext uri="{FF2B5EF4-FFF2-40B4-BE49-F238E27FC236}">
                <a16:creationId xmlns:a16="http://schemas.microsoft.com/office/drawing/2014/main" id="{12C87705-9C94-4BD6-83DD-3BFDCCB47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99051" y="3538183"/>
            <a:ext cx="4378470" cy="720313"/>
            <a:chOff x="418947" y="3652158"/>
            <a:chExt cx="4379040" cy="720407"/>
          </a:xfrm>
        </p:grpSpPr>
        <p:pic>
          <p:nvPicPr>
            <p:cNvPr id="87" name="Kuva 86" descr="Maapallo, Afrikka ja Eurooppa">
              <a:extLst>
                <a:ext uri="{FF2B5EF4-FFF2-40B4-BE49-F238E27FC236}">
                  <a16:creationId xmlns:a16="http://schemas.microsoft.com/office/drawing/2014/main" id="{C2A1A55F-6DE5-4441-81F9-C4EB636EC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18947" y="3652158"/>
              <a:ext cx="720407" cy="720407"/>
            </a:xfrm>
            <a:prstGeom prst="rect">
              <a:avLst/>
            </a:prstGeom>
          </p:spPr>
        </p:pic>
        <p:cxnSp>
          <p:nvCxnSpPr>
            <p:cNvPr id="51" name="Suora nuoliyhdysviiva 50">
              <a:extLst>
                <a:ext uri="{FF2B5EF4-FFF2-40B4-BE49-F238E27FC236}">
                  <a16:creationId xmlns:a16="http://schemas.microsoft.com/office/drawing/2014/main" id="{03791136-D85F-4533-86FD-327723EA9D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2744" y="3797841"/>
              <a:ext cx="3895243" cy="0"/>
            </a:xfrm>
            <a:prstGeom prst="straightConnector1">
              <a:avLst/>
            </a:prstGeom>
            <a:ln w="31750">
              <a:solidFill>
                <a:schemeClr val="accent3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Ryhmä 20">
            <a:extLst>
              <a:ext uri="{FF2B5EF4-FFF2-40B4-BE49-F238E27FC236}">
                <a16:creationId xmlns:a16="http://schemas.microsoft.com/office/drawing/2014/main" id="{9699C1A7-C6E6-4158-8FE6-0E3A248F60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297186" y="4629559"/>
            <a:ext cx="5613446" cy="880900"/>
            <a:chOff x="5886450" y="4778893"/>
            <a:chExt cx="5694669" cy="881015"/>
          </a:xfrm>
        </p:grpSpPr>
        <p:pic>
          <p:nvPicPr>
            <p:cNvPr id="130" name="Kuva 129" descr="Metsämaisema">
              <a:extLst>
                <a:ext uri="{FF2B5EF4-FFF2-40B4-BE49-F238E27FC236}">
                  <a16:creationId xmlns:a16="http://schemas.microsoft.com/office/drawing/2014/main" id="{A8D16E7D-D813-4266-85FE-B674F9825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700104" y="4778893"/>
              <a:ext cx="881015" cy="881015"/>
            </a:xfrm>
            <a:prstGeom prst="rect">
              <a:avLst/>
            </a:prstGeom>
          </p:spPr>
        </p:pic>
        <p:cxnSp>
          <p:nvCxnSpPr>
            <p:cNvPr id="53" name="Suora nuoliyhdysviiva 52">
              <a:extLst>
                <a:ext uri="{FF2B5EF4-FFF2-40B4-BE49-F238E27FC236}">
                  <a16:creationId xmlns:a16="http://schemas.microsoft.com/office/drawing/2014/main" id="{665C9671-5689-4E38-858B-D8E7E2E82B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86450" y="5542694"/>
              <a:ext cx="4945163" cy="0"/>
            </a:xfrm>
            <a:prstGeom prst="straightConnector1">
              <a:avLst/>
            </a:prstGeom>
            <a:ln w="3175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Ryhmä 22">
            <a:extLst>
              <a:ext uri="{FF2B5EF4-FFF2-40B4-BE49-F238E27FC236}">
                <a16:creationId xmlns:a16="http://schemas.microsoft.com/office/drawing/2014/main" id="{571FFA8A-E02F-4156-8C77-4CA869050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338463" y="2761310"/>
            <a:ext cx="4546190" cy="791535"/>
            <a:chOff x="6862763" y="2861890"/>
            <a:chExt cx="4546782" cy="791638"/>
          </a:xfrm>
        </p:grpSpPr>
        <p:grpSp>
          <p:nvGrpSpPr>
            <p:cNvPr id="91" name="Kuva 89" descr="Ihmisryhmä">
              <a:extLst>
                <a:ext uri="{FF2B5EF4-FFF2-40B4-BE49-F238E27FC236}">
                  <a16:creationId xmlns:a16="http://schemas.microsoft.com/office/drawing/2014/main" id="{C7F85520-9199-4897-8425-B820F73E8BD9}"/>
                </a:ext>
              </a:extLst>
            </p:cNvPr>
            <p:cNvGrpSpPr/>
            <p:nvPr/>
          </p:nvGrpSpPr>
          <p:grpSpPr>
            <a:xfrm>
              <a:off x="10631737" y="2861890"/>
              <a:ext cx="777808" cy="791637"/>
              <a:chOff x="889748" y="1257633"/>
              <a:chExt cx="542798" cy="552449"/>
            </a:xfrm>
            <a:solidFill>
              <a:schemeClr val="accent1"/>
            </a:solidFill>
          </p:grpSpPr>
          <p:sp>
            <p:nvSpPr>
              <p:cNvPr id="100" name="Vapaamuotoinen: Muoto 99">
                <a:extLst>
                  <a:ext uri="{FF2B5EF4-FFF2-40B4-BE49-F238E27FC236}">
                    <a16:creationId xmlns:a16="http://schemas.microsoft.com/office/drawing/2014/main" id="{F6D70BE4-319C-4663-A238-369388975E7F}"/>
                  </a:ext>
                </a:extLst>
              </p:cNvPr>
              <p:cNvSpPr/>
              <p:nvPr/>
            </p:nvSpPr>
            <p:spPr>
              <a:xfrm>
                <a:off x="1346881" y="154338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1" name="Vapaamuotoinen: Muoto 100">
                <a:extLst>
                  <a:ext uri="{FF2B5EF4-FFF2-40B4-BE49-F238E27FC236}">
                    <a16:creationId xmlns:a16="http://schemas.microsoft.com/office/drawing/2014/main" id="{36BFABB6-8B76-485E-8B07-C948CC69D46B}"/>
                  </a:ext>
                </a:extLst>
              </p:cNvPr>
              <p:cNvSpPr/>
              <p:nvPr/>
            </p:nvSpPr>
            <p:spPr>
              <a:xfrm>
                <a:off x="1137331" y="154338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2" name="Vapaamuotoinen: Muoto 101">
                <a:extLst>
                  <a:ext uri="{FF2B5EF4-FFF2-40B4-BE49-F238E27FC236}">
                    <a16:creationId xmlns:a16="http://schemas.microsoft.com/office/drawing/2014/main" id="{5E4B5973-78E0-414E-BB7C-3A156B3F63B7}"/>
                  </a:ext>
                </a:extLst>
              </p:cNvPr>
              <p:cNvSpPr/>
              <p:nvPr/>
            </p:nvSpPr>
            <p:spPr>
              <a:xfrm>
                <a:off x="1242106" y="154338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3" name="Vapaamuotoinen: Muoto 102">
                <a:extLst>
                  <a:ext uri="{FF2B5EF4-FFF2-40B4-BE49-F238E27FC236}">
                    <a16:creationId xmlns:a16="http://schemas.microsoft.com/office/drawing/2014/main" id="{46596008-756B-40DC-8D4D-1BF7B530F86B}"/>
                  </a:ext>
                </a:extLst>
              </p:cNvPr>
              <p:cNvSpPr/>
              <p:nvPr/>
            </p:nvSpPr>
            <p:spPr>
              <a:xfrm>
                <a:off x="927781" y="154338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4" name="Vapaamuotoinen: Muoto 103">
                <a:extLst>
                  <a:ext uri="{FF2B5EF4-FFF2-40B4-BE49-F238E27FC236}">
                    <a16:creationId xmlns:a16="http://schemas.microsoft.com/office/drawing/2014/main" id="{0968128D-480C-4D80-80F0-91234B1342D8}"/>
                  </a:ext>
                </a:extLst>
              </p:cNvPr>
              <p:cNvSpPr/>
              <p:nvPr/>
            </p:nvSpPr>
            <p:spPr>
              <a:xfrm>
                <a:off x="1032556" y="154338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5" name="Vapaamuotoinen: Muoto 104">
                <a:extLst>
                  <a:ext uri="{FF2B5EF4-FFF2-40B4-BE49-F238E27FC236}">
                    <a16:creationId xmlns:a16="http://schemas.microsoft.com/office/drawing/2014/main" id="{CB49CD21-3D2A-4E9F-B8AE-E8FB8645B972}"/>
                  </a:ext>
                </a:extLst>
              </p:cNvPr>
              <p:cNvSpPr/>
              <p:nvPr/>
            </p:nvSpPr>
            <p:spPr>
              <a:xfrm>
                <a:off x="889748" y="1600512"/>
                <a:ext cx="542798" cy="209570"/>
              </a:xfrm>
              <a:custGeom>
                <a:avLst/>
                <a:gdLst>
                  <a:gd name="connsiteX0" fmla="*/ 542382 w 542798"/>
                  <a:gd name="connsiteY0" fmla="*/ 92032 h 209570"/>
                  <a:gd name="connsiteX1" fmla="*/ 523998 w 542798"/>
                  <a:gd name="connsiteY1" fmla="*/ 22690 h 209570"/>
                  <a:gd name="connsiteX2" fmla="*/ 521236 w 542798"/>
                  <a:gd name="connsiteY2" fmla="*/ 17356 h 209570"/>
                  <a:gd name="connsiteX3" fmla="*/ 498567 w 542798"/>
                  <a:gd name="connsiteY3" fmla="*/ 2974 h 209570"/>
                  <a:gd name="connsiteX4" fmla="*/ 480945 w 542798"/>
                  <a:gd name="connsiteY4" fmla="*/ 21 h 209570"/>
                  <a:gd name="connsiteX5" fmla="*/ 463229 w 542798"/>
                  <a:gd name="connsiteY5" fmla="*/ 2974 h 209570"/>
                  <a:gd name="connsiteX6" fmla="*/ 440655 w 542798"/>
                  <a:gd name="connsiteY6" fmla="*/ 17452 h 209570"/>
                  <a:gd name="connsiteX7" fmla="*/ 437892 w 542798"/>
                  <a:gd name="connsiteY7" fmla="*/ 22786 h 209570"/>
                  <a:gd name="connsiteX8" fmla="*/ 428558 w 542798"/>
                  <a:gd name="connsiteY8" fmla="*/ 57171 h 209570"/>
                  <a:gd name="connsiteX9" fmla="*/ 419033 w 542798"/>
                  <a:gd name="connsiteY9" fmla="*/ 22690 h 209570"/>
                  <a:gd name="connsiteX10" fmla="*/ 416175 w 542798"/>
                  <a:gd name="connsiteY10" fmla="*/ 17356 h 209570"/>
                  <a:gd name="connsiteX11" fmla="*/ 393601 w 542798"/>
                  <a:gd name="connsiteY11" fmla="*/ 2974 h 209570"/>
                  <a:gd name="connsiteX12" fmla="*/ 376170 w 542798"/>
                  <a:gd name="connsiteY12" fmla="*/ 21 h 209570"/>
                  <a:gd name="connsiteX13" fmla="*/ 358454 w 542798"/>
                  <a:gd name="connsiteY13" fmla="*/ 2974 h 209570"/>
                  <a:gd name="connsiteX14" fmla="*/ 335784 w 542798"/>
                  <a:gd name="connsiteY14" fmla="*/ 17452 h 209570"/>
                  <a:gd name="connsiteX15" fmla="*/ 333117 w 542798"/>
                  <a:gd name="connsiteY15" fmla="*/ 22786 h 209570"/>
                  <a:gd name="connsiteX16" fmla="*/ 323592 w 542798"/>
                  <a:gd name="connsiteY16" fmla="*/ 58219 h 209570"/>
                  <a:gd name="connsiteX17" fmla="*/ 314067 w 542798"/>
                  <a:gd name="connsiteY17" fmla="*/ 23071 h 209570"/>
                  <a:gd name="connsiteX18" fmla="*/ 311305 w 542798"/>
                  <a:gd name="connsiteY18" fmla="*/ 17737 h 209570"/>
                  <a:gd name="connsiteX19" fmla="*/ 288636 w 542798"/>
                  <a:gd name="connsiteY19" fmla="*/ 3355 h 209570"/>
                  <a:gd name="connsiteX20" fmla="*/ 271395 w 542798"/>
                  <a:gd name="connsiteY20" fmla="*/ 21 h 209570"/>
                  <a:gd name="connsiteX21" fmla="*/ 253679 w 542798"/>
                  <a:gd name="connsiteY21" fmla="*/ 2974 h 209570"/>
                  <a:gd name="connsiteX22" fmla="*/ 231105 w 542798"/>
                  <a:gd name="connsiteY22" fmla="*/ 17452 h 209570"/>
                  <a:gd name="connsiteX23" fmla="*/ 228342 w 542798"/>
                  <a:gd name="connsiteY23" fmla="*/ 22786 h 209570"/>
                  <a:gd name="connsiteX24" fmla="*/ 219008 w 542798"/>
                  <a:gd name="connsiteY24" fmla="*/ 57171 h 209570"/>
                  <a:gd name="connsiteX25" fmla="*/ 209483 w 542798"/>
                  <a:gd name="connsiteY25" fmla="*/ 22690 h 209570"/>
                  <a:gd name="connsiteX26" fmla="*/ 206625 w 542798"/>
                  <a:gd name="connsiteY26" fmla="*/ 17356 h 209570"/>
                  <a:gd name="connsiteX27" fmla="*/ 184051 w 542798"/>
                  <a:gd name="connsiteY27" fmla="*/ 2974 h 209570"/>
                  <a:gd name="connsiteX28" fmla="*/ 166620 w 542798"/>
                  <a:gd name="connsiteY28" fmla="*/ 21 h 209570"/>
                  <a:gd name="connsiteX29" fmla="*/ 148904 w 542798"/>
                  <a:gd name="connsiteY29" fmla="*/ 2974 h 209570"/>
                  <a:gd name="connsiteX30" fmla="*/ 126234 w 542798"/>
                  <a:gd name="connsiteY30" fmla="*/ 17452 h 209570"/>
                  <a:gd name="connsiteX31" fmla="*/ 123567 w 542798"/>
                  <a:gd name="connsiteY31" fmla="*/ 22786 h 209570"/>
                  <a:gd name="connsiteX32" fmla="*/ 114042 w 542798"/>
                  <a:gd name="connsiteY32" fmla="*/ 58219 h 209570"/>
                  <a:gd name="connsiteX33" fmla="*/ 104517 w 542798"/>
                  <a:gd name="connsiteY33" fmla="*/ 23071 h 209570"/>
                  <a:gd name="connsiteX34" fmla="*/ 101755 w 542798"/>
                  <a:gd name="connsiteY34" fmla="*/ 17737 h 209570"/>
                  <a:gd name="connsiteX35" fmla="*/ 79086 w 542798"/>
                  <a:gd name="connsiteY35" fmla="*/ 3355 h 209570"/>
                  <a:gd name="connsiteX36" fmla="*/ 61845 w 542798"/>
                  <a:gd name="connsiteY36" fmla="*/ 21 h 209570"/>
                  <a:gd name="connsiteX37" fmla="*/ 44129 w 542798"/>
                  <a:gd name="connsiteY37" fmla="*/ 2974 h 209570"/>
                  <a:gd name="connsiteX38" fmla="*/ 21555 w 542798"/>
                  <a:gd name="connsiteY38" fmla="*/ 17452 h 209570"/>
                  <a:gd name="connsiteX39" fmla="*/ 18792 w 542798"/>
                  <a:gd name="connsiteY39" fmla="*/ 22786 h 209570"/>
                  <a:gd name="connsiteX40" fmla="*/ 314 w 542798"/>
                  <a:gd name="connsiteY40" fmla="*/ 92413 h 209570"/>
                  <a:gd name="connsiteX41" fmla="*/ 7077 w 542798"/>
                  <a:gd name="connsiteY41" fmla="*/ 104034 h 209570"/>
                  <a:gd name="connsiteX42" fmla="*/ 9553 w 542798"/>
                  <a:gd name="connsiteY42" fmla="*/ 104034 h 209570"/>
                  <a:gd name="connsiteX43" fmla="*/ 19078 w 542798"/>
                  <a:gd name="connsiteY43" fmla="*/ 96985 h 209570"/>
                  <a:gd name="connsiteX44" fmla="*/ 33270 w 542798"/>
                  <a:gd name="connsiteY44" fmla="*/ 41645 h 209570"/>
                  <a:gd name="connsiteX45" fmla="*/ 33270 w 542798"/>
                  <a:gd name="connsiteY45" fmla="*/ 209571 h 209570"/>
                  <a:gd name="connsiteX46" fmla="*/ 52320 w 542798"/>
                  <a:gd name="connsiteY46" fmla="*/ 209571 h 209570"/>
                  <a:gd name="connsiteX47" fmla="*/ 52320 w 542798"/>
                  <a:gd name="connsiteY47" fmla="*/ 104796 h 209570"/>
                  <a:gd name="connsiteX48" fmla="*/ 71370 w 542798"/>
                  <a:gd name="connsiteY48" fmla="*/ 104796 h 209570"/>
                  <a:gd name="connsiteX49" fmla="*/ 71370 w 542798"/>
                  <a:gd name="connsiteY49" fmla="*/ 209571 h 209570"/>
                  <a:gd name="connsiteX50" fmla="*/ 90420 w 542798"/>
                  <a:gd name="connsiteY50" fmla="*/ 209571 h 209570"/>
                  <a:gd name="connsiteX51" fmla="*/ 90420 w 542798"/>
                  <a:gd name="connsiteY51" fmla="*/ 42217 h 209570"/>
                  <a:gd name="connsiteX52" fmla="*/ 104898 w 542798"/>
                  <a:gd name="connsiteY52" fmla="*/ 96890 h 209570"/>
                  <a:gd name="connsiteX53" fmla="*/ 114423 w 542798"/>
                  <a:gd name="connsiteY53" fmla="*/ 106415 h 209570"/>
                  <a:gd name="connsiteX54" fmla="*/ 123948 w 542798"/>
                  <a:gd name="connsiteY54" fmla="*/ 96890 h 209570"/>
                  <a:gd name="connsiteX55" fmla="*/ 138045 w 542798"/>
                  <a:gd name="connsiteY55" fmla="*/ 42217 h 209570"/>
                  <a:gd name="connsiteX56" fmla="*/ 138045 w 542798"/>
                  <a:gd name="connsiteY56" fmla="*/ 72220 h 209570"/>
                  <a:gd name="connsiteX57" fmla="*/ 121662 w 542798"/>
                  <a:gd name="connsiteY57" fmla="*/ 133371 h 209570"/>
                  <a:gd name="connsiteX58" fmla="*/ 138045 w 542798"/>
                  <a:gd name="connsiteY58" fmla="*/ 133371 h 209570"/>
                  <a:gd name="connsiteX59" fmla="*/ 138045 w 542798"/>
                  <a:gd name="connsiteY59" fmla="*/ 209571 h 209570"/>
                  <a:gd name="connsiteX60" fmla="*/ 157095 w 542798"/>
                  <a:gd name="connsiteY60" fmla="*/ 209571 h 209570"/>
                  <a:gd name="connsiteX61" fmla="*/ 157095 w 542798"/>
                  <a:gd name="connsiteY61" fmla="*/ 133371 h 209570"/>
                  <a:gd name="connsiteX62" fmla="*/ 176145 w 542798"/>
                  <a:gd name="connsiteY62" fmla="*/ 133371 h 209570"/>
                  <a:gd name="connsiteX63" fmla="*/ 176145 w 542798"/>
                  <a:gd name="connsiteY63" fmla="*/ 209571 h 209570"/>
                  <a:gd name="connsiteX64" fmla="*/ 195195 w 542798"/>
                  <a:gd name="connsiteY64" fmla="*/ 209571 h 209570"/>
                  <a:gd name="connsiteX65" fmla="*/ 195195 w 542798"/>
                  <a:gd name="connsiteY65" fmla="*/ 133371 h 209570"/>
                  <a:gd name="connsiteX66" fmla="*/ 211578 w 542798"/>
                  <a:gd name="connsiteY66" fmla="*/ 133371 h 209570"/>
                  <a:gd name="connsiteX67" fmla="*/ 195195 w 542798"/>
                  <a:gd name="connsiteY67" fmla="*/ 72220 h 209570"/>
                  <a:gd name="connsiteX68" fmla="*/ 195195 w 542798"/>
                  <a:gd name="connsiteY68" fmla="*/ 41645 h 209570"/>
                  <a:gd name="connsiteX69" fmla="*/ 209769 w 542798"/>
                  <a:gd name="connsiteY69" fmla="*/ 96890 h 209570"/>
                  <a:gd name="connsiteX70" fmla="*/ 221323 w 542798"/>
                  <a:gd name="connsiteY70" fmla="*/ 103814 h 209570"/>
                  <a:gd name="connsiteX71" fmla="*/ 228247 w 542798"/>
                  <a:gd name="connsiteY71" fmla="*/ 96890 h 209570"/>
                  <a:gd name="connsiteX72" fmla="*/ 242820 w 542798"/>
                  <a:gd name="connsiteY72" fmla="*/ 41645 h 209570"/>
                  <a:gd name="connsiteX73" fmla="*/ 242820 w 542798"/>
                  <a:gd name="connsiteY73" fmla="*/ 209571 h 209570"/>
                  <a:gd name="connsiteX74" fmla="*/ 261870 w 542798"/>
                  <a:gd name="connsiteY74" fmla="*/ 209571 h 209570"/>
                  <a:gd name="connsiteX75" fmla="*/ 261870 w 542798"/>
                  <a:gd name="connsiteY75" fmla="*/ 104796 h 209570"/>
                  <a:gd name="connsiteX76" fmla="*/ 280920 w 542798"/>
                  <a:gd name="connsiteY76" fmla="*/ 104796 h 209570"/>
                  <a:gd name="connsiteX77" fmla="*/ 280920 w 542798"/>
                  <a:gd name="connsiteY77" fmla="*/ 209571 h 209570"/>
                  <a:gd name="connsiteX78" fmla="*/ 299970 w 542798"/>
                  <a:gd name="connsiteY78" fmla="*/ 209571 h 209570"/>
                  <a:gd name="connsiteX79" fmla="*/ 299970 w 542798"/>
                  <a:gd name="connsiteY79" fmla="*/ 42217 h 209570"/>
                  <a:gd name="connsiteX80" fmla="*/ 314448 w 542798"/>
                  <a:gd name="connsiteY80" fmla="*/ 96890 h 209570"/>
                  <a:gd name="connsiteX81" fmla="*/ 323973 w 542798"/>
                  <a:gd name="connsiteY81" fmla="*/ 106415 h 209570"/>
                  <a:gd name="connsiteX82" fmla="*/ 333498 w 542798"/>
                  <a:gd name="connsiteY82" fmla="*/ 96890 h 209570"/>
                  <a:gd name="connsiteX83" fmla="*/ 347595 w 542798"/>
                  <a:gd name="connsiteY83" fmla="*/ 42217 h 209570"/>
                  <a:gd name="connsiteX84" fmla="*/ 347595 w 542798"/>
                  <a:gd name="connsiteY84" fmla="*/ 72220 h 209570"/>
                  <a:gd name="connsiteX85" fmla="*/ 331212 w 542798"/>
                  <a:gd name="connsiteY85" fmla="*/ 133371 h 209570"/>
                  <a:gd name="connsiteX86" fmla="*/ 347595 w 542798"/>
                  <a:gd name="connsiteY86" fmla="*/ 133371 h 209570"/>
                  <a:gd name="connsiteX87" fmla="*/ 347595 w 542798"/>
                  <a:gd name="connsiteY87" fmla="*/ 209571 h 209570"/>
                  <a:gd name="connsiteX88" fmla="*/ 366645 w 542798"/>
                  <a:gd name="connsiteY88" fmla="*/ 209571 h 209570"/>
                  <a:gd name="connsiteX89" fmla="*/ 366645 w 542798"/>
                  <a:gd name="connsiteY89" fmla="*/ 133371 h 209570"/>
                  <a:gd name="connsiteX90" fmla="*/ 385695 w 542798"/>
                  <a:gd name="connsiteY90" fmla="*/ 133371 h 209570"/>
                  <a:gd name="connsiteX91" fmla="*/ 385695 w 542798"/>
                  <a:gd name="connsiteY91" fmla="*/ 209571 h 209570"/>
                  <a:gd name="connsiteX92" fmla="*/ 404745 w 542798"/>
                  <a:gd name="connsiteY92" fmla="*/ 209571 h 209570"/>
                  <a:gd name="connsiteX93" fmla="*/ 404745 w 542798"/>
                  <a:gd name="connsiteY93" fmla="*/ 133371 h 209570"/>
                  <a:gd name="connsiteX94" fmla="*/ 421128 w 542798"/>
                  <a:gd name="connsiteY94" fmla="*/ 133371 h 209570"/>
                  <a:gd name="connsiteX95" fmla="*/ 404745 w 542798"/>
                  <a:gd name="connsiteY95" fmla="*/ 72220 h 209570"/>
                  <a:gd name="connsiteX96" fmla="*/ 404745 w 542798"/>
                  <a:gd name="connsiteY96" fmla="*/ 41645 h 209570"/>
                  <a:gd name="connsiteX97" fmla="*/ 419319 w 542798"/>
                  <a:gd name="connsiteY97" fmla="*/ 96890 h 209570"/>
                  <a:gd name="connsiteX98" fmla="*/ 430873 w 542798"/>
                  <a:gd name="connsiteY98" fmla="*/ 103814 h 209570"/>
                  <a:gd name="connsiteX99" fmla="*/ 437797 w 542798"/>
                  <a:gd name="connsiteY99" fmla="*/ 96890 h 209570"/>
                  <a:gd name="connsiteX100" fmla="*/ 452370 w 542798"/>
                  <a:gd name="connsiteY100" fmla="*/ 41645 h 209570"/>
                  <a:gd name="connsiteX101" fmla="*/ 452370 w 542798"/>
                  <a:gd name="connsiteY101" fmla="*/ 209571 h 209570"/>
                  <a:gd name="connsiteX102" fmla="*/ 471420 w 542798"/>
                  <a:gd name="connsiteY102" fmla="*/ 209571 h 209570"/>
                  <a:gd name="connsiteX103" fmla="*/ 471420 w 542798"/>
                  <a:gd name="connsiteY103" fmla="*/ 104796 h 209570"/>
                  <a:gd name="connsiteX104" fmla="*/ 490470 w 542798"/>
                  <a:gd name="connsiteY104" fmla="*/ 104796 h 209570"/>
                  <a:gd name="connsiteX105" fmla="*/ 490470 w 542798"/>
                  <a:gd name="connsiteY105" fmla="*/ 209571 h 209570"/>
                  <a:gd name="connsiteX106" fmla="*/ 509520 w 542798"/>
                  <a:gd name="connsiteY106" fmla="*/ 209571 h 209570"/>
                  <a:gd name="connsiteX107" fmla="*/ 509520 w 542798"/>
                  <a:gd name="connsiteY107" fmla="*/ 42217 h 209570"/>
                  <a:gd name="connsiteX108" fmla="*/ 523998 w 542798"/>
                  <a:gd name="connsiteY108" fmla="*/ 96890 h 209570"/>
                  <a:gd name="connsiteX109" fmla="*/ 533523 w 542798"/>
                  <a:gd name="connsiteY109" fmla="*/ 103939 h 209570"/>
                  <a:gd name="connsiteX110" fmla="*/ 536000 w 542798"/>
                  <a:gd name="connsiteY110" fmla="*/ 103939 h 209570"/>
                  <a:gd name="connsiteX111" fmla="*/ 542397 w 542798"/>
                  <a:gd name="connsiteY111" fmla="*/ 92085 h 209570"/>
                  <a:gd name="connsiteX112" fmla="*/ 542382 w 542798"/>
                  <a:gd name="connsiteY112" fmla="*/ 92032 h 20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542798" h="209570">
                    <a:moveTo>
                      <a:pt x="542382" y="92032"/>
                    </a:moveTo>
                    <a:lnTo>
                      <a:pt x="523998" y="22690"/>
                    </a:lnTo>
                    <a:cubicBezTo>
                      <a:pt x="523489" y="20728"/>
                      <a:pt x="522545" y="18905"/>
                      <a:pt x="521236" y="17356"/>
                    </a:cubicBezTo>
                    <a:cubicBezTo>
                      <a:pt x="514929" y="10830"/>
                      <a:pt x="507158" y="5900"/>
                      <a:pt x="498567" y="2974"/>
                    </a:cubicBezTo>
                    <a:cubicBezTo>
                      <a:pt x="492944" y="843"/>
                      <a:pt x="486956" y="-161"/>
                      <a:pt x="480945" y="21"/>
                    </a:cubicBezTo>
                    <a:cubicBezTo>
                      <a:pt x="474918" y="26"/>
                      <a:pt x="468932" y="1023"/>
                      <a:pt x="463229" y="2974"/>
                    </a:cubicBezTo>
                    <a:cubicBezTo>
                      <a:pt x="454612" y="5836"/>
                      <a:pt x="446851" y="10814"/>
                      <a:pt x="440655" y="17452"/>
                    </a:cubicBezTo>
                    <a:cubicBezTo>
                      <a:pt x="439401" y="19037"/>
                      <a:pt x="438464" y="20847"/>
                      <a:pt x="437892" y="22786"/>
                    </a:cubicBezTo>
                    <a:lnTo>
                      <a:pt x="428558" y="57171"/>
                    </a:lnTo>
                    <a:lnTo>
                      <a:pt x="419033" y="22690"/>
                    </a:lnTo>
                    <a:cubicBezTo>
                      <a:pt x="418469" y="20730"/>
                      <a:pt x="417495" y="18912"/>
                      <a:pt x="416175" y="17356"/>
                    </a:cubicBezTo>
                    <a:cubicBezTo>
                      <a:pt x="409909" y="10825"/>
                      <a:pt x="402168" y="5893"/>
                      <a:pt x="393601" y="2974"/>
                    </a:cubicBezTo>
                    <a:cubicBezTo>
                      <a:pt x="388033" y="883"/>
                      <a:pt x="382116" y="-119"/>
                      <a:pt x="376170" y="21"/>
                    </a:cubicBezTo>
                    <a:cubicBezTo>
                      <a:pt x="370141" y="10"/>
                      <a:pt x="364153" y="1008"/>
                      <a:pt x="358454" y="2974"/>
                    </a:cubicBezTo>
                    <a:cubicBezTo>
                      <a:pt x="349819" y="5858"/>
                      <a:pt x="342033" y="10832"/>
                      <a:pt x="335784" y="17452"/>
                    </a:cubicBezTo>
                    <a:cubicBezTo>
                      <a:pt x="334597" y="19064"/>
                      <a:pt x="333695" y="20868"/>
                      <a:pt x="333117" y="22786"/>
                    </a:cubicBezTo>
                    <a:lnTo>
                      <a:pt x="323592" y="58219"/>
                    </a:lnTo>
                    <a:lnTo>
                      <a:pt x="314067" y="23071"/>
                    </a:lnTo>
                    <a:cubicBezTo>
                      <a:pt x="313558" y="21109"/>
                      <a:pt x="312614" y="19286"/>
                      <a:pt x="311305" y="17737"/>
                    </a:cubicBezTo>
                    <a:cubicBezTo>
                      <a:pt x="304998" y="11211"/>
                      <a:pt x="297227" y="6281"/>
                      <a:pt x="288636" y="3355"/>
                    </a:cubicBezTo>
                    <a:cubicBezTo>
                      <a:pt x="283158" y="1142"/>
                      <a:pt x="277304" y="10"/>
                      <a:pt x="271395" y="21"/>
                    </a:cubicBezTo>
                    <a:cubicBezTo>
                      <a:pt x="265368" y="26"/>
                      <a:pt x="259382" y="1023"/>
                      <a:pt x="253679" y="2974"/>
                    </a:cubicBezTo>
                    <a:cubicBezTo>
                      <a:pt x="245062" y="5836"/>
                      <a:pt x="237301" y="10814"/>
                      <a:pt x="231105" y="17452"/>
                    </a:cubicBezTo>
                    <a:cubicBezTo>
                      <a:pt x="229851" y="19037"/>
                      <a:pt x="228914" y="20847"/>
                      <a:pt x="228342" y="22786"/>
                    </a:cubicBezTo>
                    <a:lnTo>
                      <a:pt x="219008" y="57171"/>
                    </a:lnTo>
                    <a:lnTo>
                      <a:pt x="209483" y="22690"/>
                    </a:lnTo>
                    <a:cubicBezTo>
                      <a:pt x="208919" y="20730"/>
                      <a:pt x="207945" y="18912"/>
                      <a:pt x="206625" y="17356"/>
                    </a:cubicBezTo>
                    <a:cubicBezTo>
                      <a:pt x="200359" y="10825"/>
                      <a:pt x="192618" y="5893"/>
                      <a:pt x="184051" y="2974"/>
                    </a:cubicBezTo>
                    <a:cubicBezTo>
                      <a:pt x="178484" y="883"/>
                      <a:pt x="172566" y="-119"/>
                      <a:pt x="166620" y="21"/>
                    </a:cubicBezTo>
                    <a:cubicBezTo>
                      <a:pt x="160591" y="10"/>
                      <a:pt x="154603" y="1008"/>
                      <a:pt x="148904" y="2974"/>
                    </a:cubicBezTo>
                    <a:cubicBezTo>
                      <a:pt x="140270" y="5858"/>
                      <a:pt x="132483" y="10832"/>
                      <a:pt x="126234" y="17452"/>
                    </a:cubicBezTo>
                    <a:cubicBezTo>
                      <a:pt x="125047" y="19064"/>
                      <a:pt x="124145" y="20868"/>
                      <a:pt x="123567" y="22786"/>
                    </a:cubicBezTo>
                    <a:lnTo>
                      <a:pt x="114042" y="58219"/>
                    </a:lnTo>
                    <a:lnTo>
                      <a:pt x="104517" y="23071"/>
                    </a:lnTo>
                    <a:cubicBezTo>
                      <a:pt x="104008" y="21109"/>
                      <a:pt x="103064" y="19286"/>
                      <a:pt x="101755" y="17737"/>
                    </a:cubicBezTo>
                    <a:cubicBezTo>
                      <a:pt x="95448" y="11211"/>
                      <a:pt x="87677" y="6281"/>
                      <a:pt x="79086" y="3355"/>
                    </a:cubicBezTo>
                    <a:cubicBezTo>
                      <a:pt x="73608" y="1142"/>
                      <a:pt x="67754" y="10"/>
                      <a:pt x="61845" y="21"/>
                    </a:cubicBezTo>
                    <a:cubicBezTo>
                      <a:pt x="55818" y="26"/>
                      <a:pt x="49832" y="1023"/>
                      <a:pt x="44129" y="2974"/>
                    </a:cubicBezTo>
                    <a:cubicBezTo>
                      <a:pt x="35512" y="5836"/>
                      <a:pt x="27751" y="10814"/>
                      <a:pt x="21555" y="17452"/>
                    </a:cubicBezTo>
                    <a:cubicBezTo>
                      <a:pt x="20301" y="19037"/>
                      <a:pt x="19364" y="20847"/>
                      <a:pt x="18792" y="22786"/>
                    </a:cubicBezTo>
                    <a:lnTo>
                      <a:pt x="314" y="92413"/>
                    </a:lnTo>
                    <a:cubicBezTo>
                      <a:pt x="-1017" y="97488"/>
                      <a:pt x="2006" y="102684"/>
                      <a:pt x="7077" y="104034"/>
                    </a:cubicBezTo>
                    <a:lnTo>
                      <a:pt x="9553" y="104034"/>
                    </a:lnTo>
                    <a:cubicBezTo>
                      <a:pt x="13981" y="104185"/>
                      <a:pt x="17928" y="101264"/>
                      <a:pt x="19078" y="96985"/>
                    </a:cubicBezTo>
                    <a:lnTo>
                      <a:pt x="33270" y="41645"/>
                    </a:lnTo>
                    <a:lnTo>
                      <a:pt x="33270" y="209571"/>
                    </a:lnTo>
                    <a:lnTo>
                      <a:pt x="52320" y="209571"/>
                    </a:lnTo>
                    <a:lnTo>
                      <a:pt x="52320" y="104796"/>
                    </a:lnTo>
                    <a:lnTo>
                      <a:pt x="71370" y="104796"/>
                    </a:lnTo>
                    <a:lnTo>
                      <a:pt x="71370" y="209571"/>
                    </a:lnTo>
                    <a:lnTo>
                      <a:pt x="90420" y="209571"/>
                    </a:lnTo>
                    <a:lnTo>
                      <a:pt x="90420" y="42217"/>
                    </a:lnTo>
                    <a:lnTo>
                      <a:pt x="104898" y="96890"/>
                    </a:lnTo>
                    <a:cubicBezTo>
                      <a:pt x="104898" y="102151"/>
                      <a:pt x="109163" y="106415"/>
                      <a:pt x="114423" y="106415"/>
                    </a:cubicBezTo>
                    <a:cubicBezTo>
                      <a:pt x="119684" y="106415"/>
                      <a:pt x="123948" y="102151"/>
                      <a:pt x="123948" y="96890"/>
                    </a:cubicBezTo>
                    <a:lnTo>
                      <a:pt x="138045" y="42217"/>
                    </a:lnTo>
                    <a:lnTo>
                      <a:pt x="138045" y="72220"/>
                    </a:lnTo>
                    <a:lnTo>
                      <a:pt x="121662" y="133371"/>
                    </a:lnTo>
                    <a:lnTo>
                      <a:pt x="138045" y="133371"/>
                    </a:lnTo>
                    <a:lnTo>
                      <a:pt x="138045" y="209571"/>
                    </a:lnTo>
                    <a:lnTo>
                      <a:pt x="157095" y="209571"/>
                    </a:lnTo>
                    <a:lnTo>
                      <a:pt x="157095" y="133371"/>
                    </a:lnTo>
                    <a:lnTo>
                      <a:pt x="176145" y="133371"/>
                    </a:lnTo>
                    <a:lnTo>
                      <a:pt x="176145" y="209571"/>
                    </a:lnTo>
                    <a:lnTo>
                      <a:pt x="195195" y="209571"/>
                    </a:lnTo>
                    <a:lnTo>
                      <a:pt x="195195" y="133371"/>
                    </a:lnTo>
                    <a:lnTo>
                      <a:pt x="211578" y="133371"/>
                    </a:lnTo>
                    <a:lnTo>
                      <a:pt x="195195" y="72220"/>
                    </a:lnTo>
                    <a:lnTo>
                      <a:pt x="195195" y="41645"/>
                    </a:lnTo>
                    <a:lnTo>
                      <a:pt x="209769" y="96890"/>
                    </a:lnTo>
                    <a:cubicBezTo>
                      <a:pt x="211048" y="101993"/>
                      <a:pt x="216221" y="105093"/>
                      <a:pt x="221323" y="103814"/>
                    </a:cubicBezTo>
                    <a:cubicBezTo>
                      <a:pt x="224731" y="102960"/>
                      <a:pt x="227393" y="100298"/>
                      <a:pt x="228247" y="96890"/>
                    </a:cubicBezTo>
                    <a:lnTo>
                      <a:pt x="242820" y="41645"/>
                    </a:lnTo>
                    <a:lnTo>
                      <a:pt x="242820" y="209571"/>
                    </a:lnTo>
                    <a:lnTo>
                      <a:pt x="261870" y="209571"/>
                    </a:lnTo>
                    <a:lnTo>
                      <a:pt x="261870" y="104796"/>
                    </a:lnTo>
                    <a:lnTo>
                      <a:pt x="280920" y="104796"/>
                    </a:lnTo>
                    <a:lnTo>
                      <a:pt x="280920" y="209571"/>
                    </a:lnTo>
                    <a:lnTo>
                      <a:pt x="299970" y="209571"/>
                    </a:lnTo>
                    <a:lnTo>
                      <a:pt x="299970" y="42217"/>
                    </a:lnTo>
                    <a:lnTo>
                      <a:pt x="314448" y="96890"/>
                    </a:lnTo>
                    <a:cubicBezTo>
                      <a:pt x="314448" y="102151"/>
                      <a:pt x="318713" y="106415"/>
                      <a:pt x="323973" y="106415"/>
                    </a:cubicBezTo>
                    <a:cubicBezTo>
                      <a:pt x="329234" y="106415"/>
                      <a:pt x="333498" y="102151"/>
                      <a:pt x="333498" y="96890"/>
                    </a:cubicBezTo>
                    <a:lnTo>
                      <a:pt x="347595" y="42217"/>
                    </a:lnTo>
                    <a:lnTo>
                      <a:pt x="347595" y="72220"/>
                    </a:lnTo>
                    <a:lnTo>
                      <a:pt x="331212" y="133371"/>
                    </a:lnTo>
                    <a:lnTo>
                      <a:pt x="347595" y="133371"/>
                    </a:lnTo>
                    <a:lnTo>
                      <a:pt x="347595" y="209571"/>
                    </a:lnTo>
                    <a:lnTo>
                      <a:pt x="366645" y="209571"/>
                    </a:lnTo>
                    <a:lnTo>
                      <a:pt x="366645" y="133371"/>
                    </a:lnTo>
                    <a:lnTo>
                      <a:pt x="385695" y="133371"/>
                    </a:lnTo>
                    <a:lnTo>
                      <a:pt x="385695" y="209571"/>
                    </a:lnTo>
                    <a:lnTo>
                      <a:pt x="404745" y="209571"/>
                    </a:lnTo>
                    <a:lnTo>
                      <a:pt x="404745" y="133371"/>
                    </a:lnTo>
                    <a:lnTo>
                      <a:pt x="421128" y="133371"/>
                    </a:lnTo>
                    <a:lnTo>
                      <a:pt x="404745" y="72220"/>
                    </a:lnTo>
                    <a:lnTo>
                      <a:pt x="404745" y="41645"/>
                    </a:lnTo>
                    <a:lnTo>
                      <a:pt x="419319" y="96890"/>
                    </a:lnTo>
                    <a:cubicBezTo>
                      <a:pt x="420598" y="101993"/>
                      <a:pt x="425771" y="105093"/>
                      <a:pt x="430873" y="103814"/>
                    </a:cubicBezTo>
                    <a:cubicBezTo>
                      <a:pt x="434281" y="102960"/>
                      <a:pt x="436943" y="100298"/>
                      <a:pt x="437797" y="96890"/>
                    </a:cubicBezTo>
                    <a:lnTo>
                      <a:pt x="452370" y="41645"/>
                    </a:lnTo>
                    <a:lnTo>
                      <a:pt x="452370" y="209571"/>
                    </a:lnTo>
                    <a:lnTo>
                      <a:pt x="471420" y="209571"/>
                    </a:lnTo>
                    <a:lnTo>
                      <a:pt x="471420" y="104796"/>
                    </a:lnTo>
                    <a:lnTo>
                      <a:pt x="490470" y="104796"/>
                    </a:lnTo>
                    <a:lnTo>
                      <a:pt x="490470" y="209571"/>
                    </a:lnTo>
                    <a:lnTo>
                      <a:pt x="509520" y="209571"/>
                    </a:lnTo>
                    <a:lnTo>
                      <a:pt x="509520" y="42217"/>
                    </a:lnTo>
                    <a:lnTo>
                      <a:pt x="523998" y="96890"/>
                    </a:lnTo>
                    <a:cubicBezTo>
                      <a:pt x="525148" y="101169"/>
                      <a:pt x="529095" y="104090"/>
                      <a:pt x="533523" y="103939"/>
                    </a:cubicBezTo>
                    <a:cubicBezTo>
                      <a:pt x="534346" y="104032"/>
                      <a:pt x="535177" y="104032"/>
                      <a:pt x="536000" y="103939"/>
                    </a:cubicBezTo>
                    <a:cubicBezTo>
                      <a:pt x="541039" y="102432"/>
                      <a:pt x="543904" y="97125"/>
                      <a:pt x="542397" y="92085"/>
                    </a:cubicBezTo>
                    <a:cubicBezTo>
                      <a:pt x="542392" y="92067"/>
                      <a:pt x="542387" y="92050"/>
                      <a:pt x="542382" y="920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6" name="Vapaamuotoinen: Muoto 105">
                <a:extLst>
                  <a:ext uri="{FF2B5EF4-FFF2-40B4-BE49-F238E27FC236}">
                    <a16:creationId xmlns:a16="http://schemas.microsoft.com/office/drawing/2014/main" id="{663C883F-065B-4327-AE5A-5E7867F75CE8}"/>
                  </a:ext>
                </a:extLst>
              </p:cNvPr>
              <p:cNvSpPr/>
              <p:nvPr/>
            </p:nvSpPr>
            <p:spPr>
              <a:xfrm>
                <a:off x="1137331" y="125763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7" name="Vapaamuotoinen: Muoto 106">
                <a:extLst>
                  <a:ext uri="{FF2B5EF4-FFF2-40B4-BE49-F238E27FC236}">
                    <a16:creationId xmlns:a16="http://schemas.microsoft.com/office/drawing/2014/main" id="{F0CE2DCE-463C-413F-8B0B-14AD678ECD8C}"/>
                  </a:ext>
                </a:extLst>
              </p:cNvPr>
              <p:cNvSpPr/>
              <p:nvPr/>
            </p:nvSpPr>
            <p:spPr>
              <a:xfrm>
                <a:off x="1242106" y="125763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8" name="Vapaamuotoinen: Muoto 107">
                <a:extLst>
                  <a:ext uri="{FF2B5EF4-FFF2-40B4-BE49-F238E27FC236}">
                    <a16:creationId xmlns:a16="http://schemas.microsoft.com/office/drawing/2014/main" id="{0F52878B-E97D-453E-8116-439192CFFE21}"/>
                  </a:ext>
                </a:extLst>
              </p:cNvPr>
              <p:cNvSpPr/>
              <p:nvPr/>
            </p:nvSpPr>
            <p:spPr>
              <a:xfrm>
                <a:off x="1032556" y="1257633"/>
                <a:ext cx="47625" cy="47625"/>
              </a:xfrm>
              <a:custGeom>
                <a:avLst/>
                <a:gdLst>
                  <a:gd name="connsiteX0" fmla="*/ 23813 w 47625"/>
                  <a:gd name="connsiteY0" fmla="*/ 47625 h 47625"/>
                  <a:gd name="connsiteX1" fmla="*/ 47625 w 47625"/>
                  <a:gd name="connsiteY1" fmla="*/ 23813 h 47625"/>
                  <a:gd name="connsiteX2" fmla="*/ 23813 w 47625"/>
                  <a:gd name="connsiteY2" fmla="*/ 0 h 47625"/>
                  <a:gd name="connsiteX3" fmla="*/ 0 w 47625"/>
                  <a:gd name="connsiteY3" fmla="*/ 23813 h 47625"/>
                  <a:gd name="connsiteX4" fmla="*/ 23813 w 47625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3813" y="47625"/>
                    </a:moveTo>
                    <a:cubicBezTo>
                      <a:pt x="36964" y="47625"/>
                      <a:pt x="47625" y="36964"/>
                      <a:pt x="47625" y="23813"/>
                    </a:cubicBezTo>
                    <a:cubicBezTo>
                      <a:pt x="47625" y="10661"/>
                      <a:pt x="36964" y="0"/>
                      <a:pt x="23813" y="0"/>
                    </a:cubicBezTo>
                    <a:cubicBezTo>
                      <a:pt x="10661" y="0"/>
                      <a:pt x="0" y="10661"/>
                      <a:pt x="0" y="23813"/>
                    </a:cubicBezTo>
                    <a:cubicBezTo>
                      <a:pt x="0" y="36964"/>
                      <a:pt x="10661" y="47625"/>
                      <a:pt x="23813" y="476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  <p:sp>
            <p:nvSpPr>
              <p:cNvPr id="109" name="Vapaamuotoinen: Muoto 108">
                <a:extLst>
                  <a:ext uri="{FF2B5EF4-FFF2-40B4-BE49-F238E27FC236}">
                    <a16:creationId xmlns:a16="http://schemas.microsoft.com/office/drawing/2014/main" id="{74035652-869C-4EAC-9E12-3225BD58ABF2}"/>
                  </a:ext>
                </a:extLst>
              </p:cNvPr>
              <p:cNvSpPr/>
              <p:nvPr/>
            </p:nvSpPr>
            <p:spPr>
              <a:xfrm>
                <a:off x="994523" y="1314760"/>
                <a:ext cx="333431" cy="209572"/>
              </a:xfrm>
              <a:custGeom>
                <a:avLst/>
                <a:gdLst>
                  <a:gd name="connsiteX0" fmla="*/ 333022 w 333431"/>
                  <a:gd name="connsiteY0" fmla="*/ 92034 h 209572"/>
                  <a:gd name="connsiteX1" fmla="*/ 314639 w 333431"/>
                  <a:gd name="connsiteY1" fmla="*/ 22692 h 209572"/>
                  <a:gd name="connsiteX2" fmla="*/ 311781 w 333431"/>
                  <a:gd name="connsiteY2" fmla="*/ 17358 h 209572"/>
                  <a:gd name="connsiteX3" fmla="*/ 289207 w 333431"/>
                  <a:gd name="connsiteY3" fmla="*/ 2975 h 209572"/>
                  <a:gd name="connsiteX4" fmla="*/ 271395 w 333431"/>
                  <a:gd name="connsiteY4" fmla="*/ 23 h 209572"/>
                  <a:gd name="connsiteX5" fmla="*/ 253679 w 333431"/>
                  <a:gd name="connsiteY5" fmla="*/ 2975 h 209572"/>
                  <a:gd name="connsiteX6" fmla="*/ 231009 w 333431"/>
                  <a:gd name="connsiteY6" fmla="*/ 17453 h 209572"/>
                  <a:gd name="connsiteX7" fmla="*/ 228342 w 333431"/>
                  <a:gd name="connsiteY7" fmla="*/ 22787 h 209572"/>
                  <a:gd name="connsiteX8" fmla="*/ 218817 w 333431"/>
                  <a:gd name="connsiteY8" fmla="*/ 58220 h 209572"/>
                  <a:gd name="connsiteX9" fmla="*/ 209292 w 333431"/>
                  <a:gd name="connsiteY9" fmla="*/ 23073 h 209572"/>
                  <a:gd name="connsiteX10" fmla="*/ 206530 w 333431"/>
                  <a:gd name="connsiteY10" fmla="*/ 17739 h 209572"/>
                  <a:gd name="connsiteX11" fmla="*/ 183861 w 333431"/>
                  <a:gd name="connsiteY11" fmla="*/ 3356 h 209572"/>
                  <a:gd name="connsiteX12" fmla="*/ 166620 w 333431"/>
                  <a:gd name="connsiteY12" fmla="*/ 23 h 209572"/>
                  <a:gd name="connsiteX13" fmla="*/ 148904 w 333431"/>
                  <a:gd name="connsiteY13" fmla="*/ 2975 h 209572"/>
                  <a:gd name="connsiteX14" fmla="*/ 126330 w 333431"/>
                  <a:gd name="connsiteY14" fmla="*/ 17453 h 209572"/>
                  <a:gd name="connsiteX15" fmla="*/ 123567 w 333431"/>
                  <a:gd name="connsiteY15" fmla="*/ 22787 h 209572"/>
                  <a:gd name="connsiteX16" fmla="*/ 114233 w 333431"/>
                  <a:gd name="connsiteY16" fmla="*/ 57173 h 209572"/>
                  <a:gd name="connsiteX17" fmla="*/ 104708 w 333431"/>
                  <a:gd name="connsiteY17" fmla="*/ 22692 h 209572"/>
                  <a:gd name="connsiteX18" fmla="*/ 101850 w 333431"/>
                  <a:gd name="connsiteY18" fmla="*/ 17358 h 209572"/>
                  <a:gd name="connsiteX19" fmla="*/ 79276 w 333431"/>
                  <a:gd name="connsiteY19" fmla="*/ 2975 h 209572"/>
                  <a:gd name="connsiteX20" fmla="*/ 61845 w 333431"/>
                  <a:gd name="connsiteY20" fmla="*/ 23 h 209572"/>
                  <a:gd name="connsiteX21" fmla="*/ 44129 w 333431"/>
                  <a:gd name="connsiteY21" fmla="*/ 2975 h 209572"/>
                  <a:gd name="connsiteX22" fmla="*/ 21459 w 333431"/>
                  <a:gd name="connsiteY22" fmla="*/ 17453 h 209572"/>
                  <a:gd name="connsiteX23" fmla="*/ 18792 w 333431"/>
                  <a:gd name="connsiteY23" fmla="*/ 22787 h 209572"/>
                  <a:gd name="connsiteX24" fmla="*/ 314 w 333431"/>
                  <a:gd name="connsiteY24" fmla="*/ 92415 h 209572"/>
                  <a:gd name="connsiteX25" fmla="*/ 7077 w 333431"/>
                  <a:gd name="connsiteY25" fmla="*/ 104036 h 209572"/>
                  <a:gd name="connsiteX26" fmla="*/ 9553 w 333431"/>
                  <a:gd name="connsiteY26" fmla="*/ 104036 h 209572"/>
                  <a:gd name="connsiteX27" fmla="*/ 19078 w 333431"/>
                  <a:gd name="connsiteY27" fmla="*/ 96987 h 209572"/>
                  <a:gd name="connsiteX28" fmla="*/ 33270 w 333431"/>
                  <a:gd name="connsiteY28" fmla="*/ 42218 h 209572"/>
                  <a:gd name="connsiteX29" fmla="*/ 33270 w 333431"/>
                  <a:gd name="connsiteY29" fmla="*/ 72222 h 209572"/>
                  <a:gd name="connsiteX30" fmla="*/ 16887 w 333431"/>
                  <a:gd name="connsiteY30" fmla="*/ 133373 h 209572"/>
                  <a:gd name="connsiteX31" fmla="*/ 33270 w 333431"/>
                  <a:gd name="connsiteY31" fmla="*/ 133373 h 209572"/>
                  <a:gd name="connsiteX32" fmla="*/ 33270 w 333431"/>
                  <a:gd name="connsiteY32" fmla="*/ 209573 h 209572"/>
                  <a:gd name="connsiteX33" fmla="*/ 52320 w 333431"/>
                  <a:gd name="connsiteY33" fmla="*/ 209573 h 209572"/>
                  <a:gd name="connsiteX34" fmla="*/ 52320 w 333431"/>
                  <a:gd name="connsiteY34" fmla="*/ 133373 h 209572"/>
                  <a:gd name="connsiteX35" fmla="*/ 71370 w 333431"/>
                  <a:gd name="connsiteY35" fmla="*/ 133373 h 209572"/>
                  <a:gd name="connsiteX36" fmla="*/ 71370 w 333431"/>
                  <a:gd name="connsiteY36" fmla="*/ 209573 h 209572"/>
                  <a:gd name="connsiteX37" fmla="*/ 90420 w 333431"/>
                  <a:gd name="connsiteY37" fmla="*/ 209573 h 209572"/>
                  <a:gd name="connsiteX38" fmla="*/ 90420 w 333431"/>
                  <a:gd name="connsiteY38" fmla="*/ 133373 h 209572"/>
                  <a:gd name="connsiteX39" fmla="*/ 106803 w 333431"/>
                  <a:gd name="connsiteY39" fmla="*/ 133373 h 209572"/>
                  <a:gd name="connsiteX40" fmla="*/ 90420 w 333431"/>
                  <a:gd name="connsiteY40" fmla="*/ 72222 h 209572"/>
                  <a:gd name="connsiteX41" fmla="*/ 90420 w 333431"/>
                  <a:gd name="connsiteY41" fmla="*/ 41647 h 209572"/>
                  <a:gd name="connsiteX42" fmla="*/ 104994 w 333431"/>
                  <a:gd name="connsiteY42" fmla="*/ 96892 h 209572"/>
                  <a:gd name="connsiteX43" fmla="*/ 116548 w 333431"/>
                  <a:gd name="connsiteY43" fmla="*/ 103816 h 209572"/>
                  <a:gd name="connsiteX44" fmla="*/ 123472 w 333431"/>
                  <a:gd name="connsiteY44" fmla="*/ 96892 h 209572"/>
                  <a:gd name="connsiteX45" fmla="*/ 138045 w 333431"/>
                  <a:gd name="connsiteY45" fmla="*/ 41647 h 209572"/>
                  <a:gd name="connsiteX46" fmla="*/ 138045 w 333431"/>
                  <a:gd name="connsiteY46" fmla="*/ 209573 h 209572"/>
                  <a:gd name="connsiteX47" fmla="*/ 157095 w 333431"/>
                  <a:gd name="connsiteY47" fmla="*/ 209573 h 209572"/>
                  <a:gd name="connsiteX48" fmla="*/ 157095 w 333431"/>
                  <a:gd name="connsiteY48" fmla="*/ 104798 h 209572"/>
                  <a:gd name="connsiteX49" fmla="*/ 176145 w 333431"/>
                  <a:gd name="connsiteY49" fmla="*/ 104798 h 209572"/>
                  <a:gd name="connsiteX50" fmla="*/ 176145 w 333431"/>
                  <a:gd name="connsiteY50" fmla="*/ 209573 h 209572"/>
                  <a:gd name="connsiteX51" fmla="*/ 195195 w 333431"/>
                  <a:gd name="connsiteY51" fmla="*/ 209573 h 209572"/>
                  <a:gd name="connsiteX52" fmla="*/ 195195 w 333431"/>
                  <a:gd name="connsiteY52" fmla="*/ 42218 h 209572"/>
                  <a:gd name="connsiteX53" fmla="*/ 209673 w 333431"/>
                  <a:gd name="connsiteY53" fmla="*/ 96892 h 209572"/>
                  <a:gd name="connsiteX54" fmla="*/ 219198 w 333431"/>
                  <a:gd name="connsiteY54" fmla="*/ 106417 h 209572"/>
                  <a:gd name="connsiteX55" fmla="*/ 228723 w 333431"/>
                  <a:gd name="connsiteY55" fmla="*/ 96892 h 209572"/>
                  <a:gd name="connsiteX56" fmla="*/ 242820 w 333431"/>
                  <a:gd name="connsiteY56" fmla="*/ 42218 h 209572"/>
                  <a:gd name="connsiteX57" fmla="*/ 242820 w 333431"/>
                  <a:gd name="connsiteY57" fmla="*/ 72222 h 209572"/>
                  <a:gd name="connsiteX58" fmla="*/ 226437 w 333431"/>
                  <a:gd name="connsiteY58" fmla="*/ 133373 h 209572"/>
                  <a:gd name="connsiteX59" fmla="*/ 242820 w 333431"/>
                  <a:gd name="connsiteY59" fmla="*/ 133373 h 209572"/>
                  <a:gd name="connsiteX60" fmla="*/ 242820 w 333431"/>
                  <a:gd name="connsiteY60" fmla="*/ 209573 h 209572"/>
                  <a:gd name="connsiteX61" fmla="*/ 261870 w 333431"/>
                  <a:gd name="connsiteY61" fmla="*/ 209573 h 209572"/>
                  <a:gd name="connsiteX62" fmla="*/ 261870 w 333431"/>
                  <a:gd name="connsiteY62" fmla="*/ 133373 h 209572"/>
                  <a:gd name="connsiteX63" fmla="*/ 280920 w 333431"/>
                  <a:gd name="connsiteY63" fmla="*/ 133373 h 209572"/>
                  <a:gd name="connsiteX64" fmla="*/ 280920 w 333431"/>
                  <a:gd name="connsiteY64" fmla="*/ 209573 h 209572"/>
                  <a:gd name="connsiteX65" fmla="*/ 299970 w 333431"/>
                  <a:gd name="connsiteY65" fmla="*/ 209573 h 209572"/>
                  <a:gd name="connsiteX66" fmla="*/ 299970 w 333431"/>
                  <a:gd name="connsiteY66" fmla="*/ 133373 h 209572"/>
                  <a:gd name="connsiteX67" fmla="*/ 316353 w 333431"/>
                  <a:gd name="connsiteY67" fmla="*/ 133373 h 209572"/>
                  <a:gd name="connsiteX68" fmla="*/ 299970 w 333431"/>
                  <a:gd name="connsiteY68" fmla="*/ 72222 h 209572"/>
                  <a:gd name="connsiteX69" fmla="*/ 299970 w 333431"/>
                  <a:gd name="connsiteY69" fmla="*/ 41647 h 209572"/>
                  <a:gd name="connsiteX70" fmla="*/ 314544 w 333431"/>
                  <a:gd name="connsiteY70" fmla="*/ 96892 h 209572"/>
                  <a:gd name="connsiteX71" fmla="*/ 324069 w 333431"/>
                  <a:gd name="connsiteY71" fmla="*/ 103940 h 209572"/>
                  <a:gd name="connsiteX72" fmla="*/ 326545 w 333431"/>
                  <a:gd name="connsiteY72" fmla="*/ 103940 h 209572"/>
                  <a:gd name="connsiteX73" fmla="*/ 333055 w 333431"/>
                  <a:gd name="connsiteY73" fmla="*/ 92147 h 209572"/>
                  <a:gd name="connsiteX74" fmla="*/ 333022 w 333431"/>
                  <a:gd name="connsiteY74" fmla="*/ 92034 h 20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333431" h="209572">
                    <a:moveTo>
                      <a:pt x="333022" y="92034"/>
                    </a:moveTo>
                    <a:lnTo>
                      <a:pt x="314639" y="22692"/>
                    </a:lnTo>
                    <a:cubicBezTo>
                      <a:pt x="314075" y="20732"/>
                      <a:pt x="313101" y="18914"/>
                      <a:pt x="311781" y="17358"/>
                    </a:cubicBezTo>
                    <a:cubicBezTo>
                      <a:pt x="305515" y="10828"/>
                      <a:pt x="297774" y="5895"/>
                      <a:pt x="289207" y="2975"/>
                    </a:cubicBezTo>
                    <a:cubicBezTo>
                      <a:pt x="283520" y="836"/>
                      <a:pt x="277468" y="-167"/>
                      <a:pt x="271395" y="23"/>
                    </a:cubicBezTo>
                    <a:cubicBezTo>
                      <a:pt x="265366" y="11"/>
                      <a:pt x="259378" y="1009"/>
                      <a:pt x="253679" y="2975"/>
                    </a:cubicBezTo>
                    <a:cubicBezTo>
                      <a:pt x="245045" y="5860"/>
                      <a:pt x="237258" y="10833"/>
                      <a:pt x="231009" y="17453"/>
                    </a:cubicBezTo>
                    <a:cubicBezTo>
                      <a:pt x="229822" y="19066"/>
                      <a:pt x="228920" y="20870"/>
                      <a:pt x="228342" y="22787"/>
                    </a:cubicBezTo>
                    <a:lnTo>
                      <a:pt x="218817" y="58220"/>
                    </a:lnTo>
                    <a:lnTo>
                      <a:pt x="209292" y="23073"/>
                    </a:lnTo>
                    <a:cubicBezTo>
                      <a:pt x="208783" y="21111"/>
                      <a:pt x="207839" y="19288"/>
                      <a:pt x="206530" y="17739"/>
                    </a:cubicBezTo>
                    <a:cubicBezTo>
                      <a:pt x="200223" y="11213"/>
                      <a:pt x="192452" y="6282"/>
                      <a:pt x="183861" y="3356"/>
                    </a:cubicBezTo>
                    <a:cubicBezTo>
                      <a:pt x="178383" y="1144"/>
                      <a:pt x="172529" y="12"/>
                      <a:pt x="166620" y="23"/>
                    </a:cubicBezTo>
                    <a:cubicBezTo>
                      <a:pt x="160593" y="27"/>
                      <a:pt x="154607" y="1025"/>
                      <a:pt x="148904" y="2975"/>
                    </a:cubicBezTo>
                    <a:cubicBezTo>
                      <a:pt x="140287" y="5838"/>
                      <a:pt x="132526" y="10815"/>
                      <a:pt x="126330" y="17453"/>
                    </a:cubicBezTo>
                    <a:cubicBezTo>
                      <a:pt x="125076" y="19038"/>
                      <a:pt x="124139" y="20849"/>
                      <a:pt x="123567" y="22787"/>
                    </a:cubicBezTo>
                    <a:lnTo>
                      <a:pt x="114233" y="57173"/>
                    </a:lnTo>
                    <a:lnTo>
                      <a:pt x="104708" y="22692"/>
                    </a:lnTo>
                    <a:cubicBezTo>
                      <a:pt x="104144" y="20732"/>
                      <a:pt x="103170" y="18914"/>
                      <a:pt x="101850" y="17358"/>
                    </a:cubicBezTo>
                    <a:cubicBezTo>
                      <a:pt x="95584" y="10828"/>
                      <a:pt x="87843" y="5895"/>
                      <a:pt x="79276" y="2975"/>
                    </a:cubicBezTo>
                    <a:cubicBezTo>
                      <a:pt x="73709" y="885"/>
                      <a:pt x="67791" y="-117"/>
                      <a:pt x="61845" y="23"/>
                    </a:cubicBezTo>
                    <a:cubicBezTo>
                      <a:pt x="55816" y="11"/>
                      <a:pt x="49828" y="1009"/>
                      <a:pt x="44129" y="2975"/>
                    </a:cubicBezTo>
                    <a:cubicBezTo>
                      <a:pt x="35495" y="5860"/>
                      <a:pt x="27708" y="10833"/>
                      <a:pt x="21459" y="17453"/>
                    </a:cubicBezTo>
                    <a:cubicBezTo>
                      <a:pt x="20272" y="19066"/>
                      <a:pt x="19370" y="20870"/>
                      <a:pt x="18792" y="22787"/>
                    </a:cubicBezTo>
                    <a:lnTo>
                      <a:pt x="314" y="92415"/>
                    </a:lnTo>
                    <a:cubicBezTo>
                      <a:pt x="-1017" y="97490"/>
                      <a:pt x="2006" y="102686"/>
                      <a:pt x="7077" y="104036"/>
                    </a:cubicBezTo>
                    <a:cubicBezTo>
                      <a:pt x="7899" y="104129"/>
                      <a:pt x="8730" y="104129"/>
                      <a:pt x="9553" y="104036"/>
                    </a:cubicBezTo>
                    <a:cubicBezTo>
                      <a:pt x="13981" y="104187"/>
                      <a:pt x="17928" y="101266"/>
                      <a:pt x="19078" y="96987"/>
                    </a:cubicBezTo>
                    <a:lnTo>
                      <a:pt x="33270" y="42218"/>
                    </a:lnTo>
                    <a:lnTo>
                      <a:pt x="33270" y="72222"/>
                    </a:lnTo>
                    <a:lnTo>
                      <a:pt x="16887" y="133373"/>
                    </a:lnTo>
                    <a:lnTo>
                      <a:pt x="33270" y="133373"/>
                    </a:lnTo>
                    <a:lnTo>
                      <a:pt x="33270" y="209573"/>
                    </a:lnTo>
                    <a:lnTo>
                      <a:pt x="52320" y="209573"/>
                    </a:lnTo>
                    <a:lnTo>
                      <a:pt x="52320" y="133373"/>
                    </a:lnTo>
                    <a:lnTo>
                      <a:pt x="71370" y="133373"/>
                    </a:lnTo>
                    <a:lnTo>
                      <a:pt x="71370" y="209573"/>
                    </a:lnTo>
                    <a:lnTo>
                      <a:pt x="90420" y="209573"/>
                    </a:lnTo>
                    <a:lnTo>
                      <a:pt x="90420" y="133373"/>
                    </a:lnTo>
                    <a:lnTo>
                      <a:pt x="106803" y="133373"/>
                    </a:lnTo>
                    <a:lnTo>
                      <a:pt x="90420" y="72222"/>
                    </a:lnTo>
                    <a:lnTo>
                      <a:pt x="90420" y="41647"/>
                    </a:lnTo>
                    <a:lnTo>
                      <a:pt x="104994" y="96892"/>
                    </a:lnTo>
                    <a:cubicBezTo>
                      <a:pt x="106273" y="101994"/>
                      <a:pt x="111446" y="105095"/>
                      <a:pt x="116548" y="103816"/>
                    </a:cubicBezTo>
                    <a:cubicBezTo>
                      <a:pt x="119956" y="102961"/>
                      <a:pt x="122618" y="100300"/>
                      <a:pt x="123472" y="96892"/>
                    </a:cubicBezTo>
                    <a:lnTo>
                      <a:pt x="138045" y="41647"/>
                    </a:lnTo>
                    <a:lnTo>
                      <a:pt x="138045" y="209573"/>
                    </a:lnTo>
                    <a:lnTo>
                      <a:pt x="157095" y="209573"/>
                    </a:lnTo>
                    <a:lnTo>
                      <a:pt x="157095" y="104798"/>
                    </a:lnTo>
                    <a:lnTo>
                      <a:pt x="176145" y="104798"/>
                    </a:lnTo>
                    <a:lnTo>
                      <a:pt x="176145" y="209573"/>
                    </a:lnTo>
                    <a:lnTo>
                      <a:pt x="195195" y="209573"/>
                    </a:lnTo>
                    <a:lnTo>
                      <a:pt x="195195" y="42218"/>
                    </a:lnTo>
                    <a:lnTo>
                      <a:pt x="209673" y="96892"/>
                    </a:lnTo>
                    <a:cubicBezTo>
                      <a:pt x="209673" y="102152"/>
                      <a:pt x="213938" y="106417"/>
                      <a:pt x="219198" y="106417"/>
                    </a:cubicBezTo>
                    <a:cubicBezTo>
                      <a:pt x="224459" y="106417"/>
                      <a:pt x="228723" y="102152"/>
                      <a:pt x="228723" y="96892"/>
                    </a:cubicBezTo>
                    <a:lnTo>
                      <a:pt x="242820" y="42218"/>
                    </a:lnTo>
                    <a:lnTo>
                      <a:pt x="242820" y="72222"/>
                    </a:lnTo>
                    <a:lnTo>
                      <a:pt x="226437" y="133373"/>
                    </a:lnTo>
                    <a:lnTo>
                      <a:pt x="242820" y="133373"/>
                    </a:lnTo>
                    <a:lnTo>
                      <a:pt x="242820" y="209573"/>
                    </a:lnTo>
                    <a:lnTo>
                      <a:pt x="261870" y="209573"/>
                    </a:lnTo>
                    <a:lnTo>
                      <a:pt x="261870" y="133373"/>
                    </a:lnTo>
                    <a:lnTo>
                      <a:pt x="280920" y="133373"/>
                    </a:lnTo>
                    <a:lnTo>
                      <a:pt x="280920" y="209573"/>
                    </a:lnTo>
                    <a:lnTo>
                      <a:pt x="299970" y="209573"/>
                    </a:lnTo>
                    <a:lnTo>
                      <a:pt x="299970" y="133373"/>
                    </a:lnTo>
                    <a:lnTo>
                      <a:pt x="316353" y="133373"/>
                    </a:lnTo>
                    <a:lnTo>
                      <a:pt x="299970" y="72222"/>
                    </a:lnTo>
                    <a:lnTo>
                      <a:pt x="299970" y="41647"/>
                    </a:lnTo>
                    <a:lnTo>
                      <a:pt x="314544" y="96892"/>
                    </a:lnTo>
                    <a:cubicBezTo>
                      <a:pt x="315693" y="101170"/>
                      <a:pt x="319640" y="104092"/>
                      <a:pt x="324069" y="103940"/>
                    </a:cubicBezTo>
                    <a:lnTo>
                      <a:pt x="326545" y="103940"/>
                    </a:lnTo>
                    <a:cubicBezTo>
                      <a:pt x="331599" y="102482"/>
                      <a:pt x="334515" y="97202"/>
                      <a:pt x="333055" y="92147"/>
                    </a:cubicBezTo>
                    <a:cubicBezTo>
                      <a:pt x="333045" y="92110"/>
                      <a:pt x="333033" y="92072"/>
                      <a:pt x="333022" y="92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154">
                  <a:defRPr/>
                </a:pPr>
                <a:endParaRPr lang="fi-FI">
                  <a:solidFill>
                    <a:prstClr val="black"/>
                  </a:solidFill>
                  <a:latin typeface="Georgia"/>
                </a:endParaRPr>
              </a:p>
            </p:txBody>
          </p:sp>
        </p:grpSp>
        <p:cxnSp>
          <p:nvCxnSpPr>
            <p:cNvPr id="55" name="Suora nuoliyhdysviiva 54">
              <a:extLst>
                <a:ext uri="{FF2B5EF4-FFF2-40B4-BE49-F238E27FC236}">
                  <a16:creationId xmlns:a16="http://schemas.microsoft.com/office/drawing/2014/main" id="{4CC9581D-DB56-4000-A6DC-49320C469F5F}"/>
                </a:ext>
              </a:extLst>
            </p:cNvPr>
            <p:cNvCxnSpPr>
              <a:cxnSpLocks/>
              <a:stCxn id="105" idx="106"/>
            </p:cNvCxnSpPr>
            <p:nvPr/>
          </p:nvCxnSpPr>
          <p:spPr>
            <a:xfrm flipH="1" flipV="1">
              <a:off x="6862763" y="3634988"/>
              <a:ext cx="4499096" cy="18540"/>
            </a:xfrm>
            <a:prstGeom prst="straightConnector1">
              <a:avLst/>
            </a:prstGeom>
            <a:ln w="317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Suorakulmio 36">
            <a:extLst>
              <a:ext uri="{FF2B5EF4-FFF2-40B4-BE49-F238E27FC236}">
                <a16:creationId xmlns:a16="http://schemas.microsoft.com/office/drawing/2014/main" id="{B1D7AC08-CCB4-4423-9C8E-D4476B982BE6}"/>
              </a:ext>
            </a:extLst>
          </p:cNvPr>
          <p:cNvSpPr/>
          <p:nvPr/>
        </p:nvSpPr>
        <p:spPr>
          <a:xfrm>
            <a:off x="11769290" y="92669"/>
            <a:ext cx="282686" cy="1748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>
              <a:defRPr/>
            </a:pPr>
            <a:endParaRPr lang="fi-FI">
              <a:solidFill>
                <a:prstClr val="white"/>
              </a:solidFill>
              <a:latin typeface="Georgia"/>
            </a:endParaRPr>
          </a:p>
        </p:txBody>
      </p:sp>
      <p:pic>
        <p:nvPicPr>
          <p:cNvPr id="6" name="Kuva 27">
            <a:extLst>
              <a:ext uri="{FF2B5EF4-FFF2-40B4-BE49-F238E27FC236}">
                <a16:creationId xmlns:a16="http://schemas.microsoft.com/office/drawing/2014/main" id="{F142FF82-157D-FBEE-82DA-0471605B7A6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11559" y="5613864"/>
            <a:ext cx="2055353" cy="522438"/>
          </a:xfrm>
          <a:prstGeom prst="rect">
            <a:avLst/>
          </a:prstGeom>
        </p:spPr>
      </p:pic>
      <p:sp>
        <p:nvSpPr>
          <p:cNvPr id="10" name="Google Shape;139;p5">
            <a:extLst>
              <a:ext uri="{FF2B5EF4-FFF2-40B4-BE49-F238E27FC236}">
                <a16:creationId xmlns:a16="http://schemas.microsoft.com/office/drawing/2014/main" id="{72656345-D2D9-2736-6579-955B4B8C8C69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" name="Suorakulmio 29">
            <a:extLst>
              <a:ext uri="{FF2B5EF4-FFF2-40B4-BE49-F238E27FC236}">
                <a16:creationId xmlns:a16="http://schemas.microsoft.com/office/drawing/2014/main" id="{734294D0-DBE1-909E-F435-64C16DFDA997}"/>
              </a:ext>
            </a:extLst>
          </p:cNvPr>
          <p:cNvSpPr/>
          <p:nvPr/>
        </p:nvSpPr>
        <p:spPr>
          <a:xfrm>
            <a:off x="-325835" y="1400727"/>
            <a:ext cx="3354406" cy="369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457154">
              <a:defRPr/>
            </a:pPr>
            <a:r>
              <a:rPr lang="fi-FI" spc="100" dirty="0">
                <a:solidFill>
                  <a:prstClr val="black"/>
                </a:solidFill>
                <a:latin typeface="Arial Black"/>
              </a:rPr>
              <a:t>Key </a:t>
            </a:r>
            <a:r>
              <a:rPr lang="fi-FI" spc="100" dirty="0" err="1">
                <a:solidFill>
                  <a:prstClr val="black"/>
                </a:solidFill>
                <a:latin typeface="Arial Black"/>
              </a:rPr>
              <a:t>figures</a:t>
            </a:r>
            <a:endParaRPr lang="fi-FI" spc="100" dirty="0">
              <a:solidFill>
                <a:prstClr val="black"/>
              </a:solidFill>
              <a:latin typeface="Arial Black"/>
            </a:endParaRPr>
          </a:p>
        </p:txBody>
      </p:sp>
      <p:sp>
        <p:nvSpPr>
          <p:cNvPr id="7" name="Suorakulmio 29">
            <a:extLst>
              <a:ext uri="{FF2B5EF4-FFF2-40B4-BE49-F238E27FC236}">
                <a16:creationId xmlns:a16="http://schemas.microsoft.com/office/drawing/2014/main" id="{966AF075-4EAC-5A54-F073-2D4780C10172}"/>
              </a:ext>
            </a:extLst>
          </p:cNvPr>
          <p:cNvSpPr/>
          <p:nvPr/>
        </p:nvSpPr>
        <p:spPr>
          <a:xfrm>
            <a:off x="7699055" y="3201198"/>
            <a:ext cx="3354406" cy="369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457154">
              <a:defRPr/>
            </a:pPr>
            <a:r>
              <a:rPr lang="fi-FI" spc="100" dirty="0" err="1">
                <a:solidFill>
                  <a:prstClr val="black"/>
                </a:solidFill>
                <a:latin typeface="Arial Black"/>
              </a:rPr>
              <a:t>Annual</a:t>
            </a:r>
            <a:r>
              <a:rPr lang="fi-FI" spc="100" dirty="0">
                <a:solidFill>
                  <a:prstClr val="black"/>
                </a:solidFill>
                <a:latin typeface="Arial Black"/>
              </a:rPr>
              <a:t> </a:t>
            </a:r>
            <a:r>
              <a:rPr lang="fi-FI" spc="100" dirty="0" err="1">
                <a:solidFill>
                  <a:prstClr val="black"/>
                </a:solidFill>
                <a:latin typeface="Arial Black"/>
              </a:rPr>
              <a:t>enrollment</a:t>
            </a:r>
            <a:r>
              <a:rPr lang="fi-FI" spc="100" dirty="0">
                <a:solidFill>
                  <a:prstClr val="black"/>
                </a:solidFill>
                <a:latin typeface="Arial Black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58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Google Shape;667;p10"/>
          <p:cNvSpPr txBox="1">
            <a:spLocks noGrp="1"/>
          </p:cNvSpPr>
          <p:nvPr>
            <p:ph type="title"/>
          </p:nvPr>
        </p:nvSpPr>
        <p:spPr>
          <a:xfrm>
            <a:off x="2205" y="464696"/>
            <a:ext cx="12186004" cy="49841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392" tIns="45683" rIns="91392" bIns="45683" rtlCol="0" anchor="ctr" anchorCtr="0">
            <a:normAutofit/>
          </a:bodyPr>
          <a:lstStyle/>
          <a:p>
            <a:pPr>
              <a:buSzPts val="2800"/>
            </a:pPr>
            <a:r>
              <a:rPr lang="en-US"/>
              <a:t>OEP MISSION &amp; VISION</a:t>
            </a:r>
            <a:endParaRPr sz="2799"/>
          </a:p>
        </p:txBody>
      </p:sp>
      <p:sp>
        <p:nvSpPr>
          <p:cNvPr id="668" name="Google Shape;668;p10"/>
          <p:cNvSpPr txBox="1"/>
          <p:nvPr/>
        </p:nvSpPr>
        <p:spPr>
          <a:xfrm>
            <a:off x="914580" y="2197416"/>
            <a:ext cx="3255322" cy="34761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287896" tIns="359870" rIns="287896" bIns="431844" anchor="t" anchorCtr="0">
            <a:spAutoFit/>
          </a:bodyPr>
          <a:lstStyle/>
          <a:p>
            <a:pPr algn="ctr">
              <a:buClr>
                <a:srgbClr val="003480"/>
              </a:buClr>
              <a:buSzPts val="1600"/>
            </a:pPr>
            <a:r>
              <a:rPr lang="en-US" sz="1600" b="1">
                <a:solidFill>
                  <a:srgbClr val="003480"/>
                </a:solidFill>
                <a:latin typeface="Open Sans ExtraBold"/>
                <a:ea typeface="Open Sans ExtraBold"/>
                <a:cs typeface="Open Sans ExtraBold"/>
                <a:sym typeface="Open Sans ExtraBold"/>
              </a:rPr>
              <a:t>GLOBAL NEXT PRACTICES</a:t>
            </a: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chemeClr val="dk1"/>
              </a:buClr>
              <a:buSzPts val="1600"/>
            </a:pPr>
            <a:endParaRPr sz="1600">
              <a:solidFill>
                <a:srgbClr val="40404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>
              <a:buClr>
                <a:schemeClr val="dk1"/>
              </a:buClr>
              <a:buSzPts val="1500"/>
            </a:pPr>
            <a:r>
              <a:rPr lang="en-US" sz="15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We transform Finnish education and training best practice </a:t>
            </a:r>
            <a:r>
              <a:rPr lang="en-US" sz="1600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into </a:t>
            </a:r>
            <a:r>
              <a:rPr lang="en-US" sz="1600" b="1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global next practice</a:t>
            </a:r>
            <a:r>
              <a:rPr lang="en-US" sz="1600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 for public and private sector customers. Our goal is to provide </a:t>
            </a:r>
            <a:r>
              <a:rPr lang="en-US" sz="1600" b="1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tangible change </a:t>
            </a:r>
            <a:r>
              <a:rPr lang="en-US" sz="1600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for individuals and organizations.</a:t>
            </a:r>
            <a:endParaRPr sz="160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69" name="Google Shape;669;p10"/>
          <p:cNvSpPr txBox="1"/>
          <p:nvPr/>
        </p:nvSpPr>
        <p:spPr>
          <a:xfrm>
            <a:off x="4520075" y="2197416"/>
            <a:ext cx="3255322" cy="350689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287896" tIns="359870" rIns="287896" bIns="431844" anchor="t" anchorCtr="0">
            <a:spAutoFit/>
          </a:bodyPr>
          <a:lstStyle/>
          <a:p>
            <a:pPr algn="ctr">
              <a:buClr>
                <a:srgbClr val="003480"/>
              </a:buClr>
              <a:buSzPts val="1600"/>
            </a:pPr>
            <a:r>
              <a:rPr lang="en-US" sz="1600" b="1">
                <a:solidFill>
                  <a:srgbClr val="003480"/>
                </a:solidFill>
                <a:latin typeface="Open Sans ExtraBold"/>
                <a:ea typeface="Open Sans ExtraBold"/>
                <a:cs typeface="Open Sans ExtraBold"/>
                <a:sym typeface="Open Sans ExtraBold"/>
              </a:rPr>
              <a:t>EMPLOYABILITY</a:t>
            </a: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chemeClr val="dk1"/>
              </a:buClr>
              <a:buSzPts val="1600"/>
            </a:pPr>
            <a:endParaRPr sz="1600">
              <a:solidFill>
                <a:srgbClr val="40404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>
              <a:buClr>
                <a:srgbClr val="404040"/>
              </a:buClr>
              <a:buSzPts val="1600"/>
            </a:pPr>
            <a:r>
              <a:rPr lang="en-US" sz="1600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Education and training are means to </a:t>
            </a:r>
            <a:r>
              <a:rPr lang="en-US" sz="1600" b="1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ensuring employability and job creation</a:t>
            </a:r>
            <a:r>
              <a:rPr lang="en-US" sz="1600" b="1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  <a:r>
              <a:rPr lang="en-US" sz="1600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Our programs follow Finnish standards. Learning outcomes are industry developed and soft skills are blended into professional content.</a:t>
            </a:r>
            <a:endParaRPr sz="1600">
              <a:solidFill>
                <a:srgbClr val="40404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70" name="Google Shape;670;p10"/>
          <p:cNvSpPr txBox="1"/>
          <p:nvPr/>
        </p:nvSpPr>
        <p:spPr>
          <a:xfrm>
            <a:off x="8115414" y="2197416"/>
            <a:ext cx="3457150" cy="34761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287896" tIns="359870" rIns="287896" bIns="431844" anchor="t" anchorCtr="0">
            <a:spAutoFit/>
          </a:bodyPr>
          <a:lstStyle/>
          <a:p>
            <a:pPr algn="ctr">
              <a:buClr>
                <a:srgbClr val="003480"/>
              </a:buClr>
              <a:buSzPts val="1600"/>
            </a:pPr>
            <a:r>
              <a:rPr lang="en-US" sz="1600" b="1">
                <a:solidFill>
                  <a:srgbClr val="003480"/>
                </a:solidFill>
                <a:latin typeface="Open Sans ExtraBold"/>
                <a:ea typeface="Open Sans ExtraBold"/>
                <a:cs typeface="Open Sans ExtraBold"/>
                <a:sym typeface="Open Sans ExtraBold"/>
              </a:rPr>
              <a:t>SUSTAINABLE DEVELOPMENT GOALS</a:t>
            </a: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chemeClr val="dk1"/>
              </a:buClr>
              <a:buSzPts val="1600"/>
            </a:pPr>
            <a:endParaRPr sz="1600">
              <a:solidFill>
                <a:srgbClr val="40404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>
              <a:buClr>
                <a:srgbClr val="003480"/>
              </a:buClr>
              <a:buSzPts val="1500"/>
            </a:pPr>
            <a:r>
              <a:rPr lang="en-US" sz="1500" b="1">
                <a:solidFill>
                  <a:srgbClr val="003480"/>
                </a:solidFill>
                <a:latin typeface="Open Sans"/>
                <a:ea typeface="Open Sans"/>
                <a:cs typeface="Open Sans"/>
                <a:sym typeface="Open Sans"/>
              </a:rPr>
              <a:t>Education and training are core elements in achieving the UN 2030 Agenda</a:t>
            </a:r>
            <a:r>
              <a:rPr lang="en-US" sz="1500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  <a:r>
              <a:rPr lang="en-US" sz="1600">
                <a:solidFill>
                  <a:srgbClr val="404040"/>
                </a:solidFill>
                <a:latin typeface="Open Sans"/>
                <a:ea typeface="Open Sans"/>
                <a:cs typeface="Open Sans"/>
                <a:sym typeface="Open Sans"/>
              </a:rPr>
              <a:t>Our programs contribute directly or indirectly to reaching all 17 goals. We support sustainable growth and thriving local ecosystems.</a:t>
            </a:r>
            <a:endParaRPr sz="1600">
              <a:solidFill>
                <a:srgbClr val="40404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71" name="Google Shape;671;p10"/>
          <p:cNvSpPr/>
          <p:nvPr/>
        </p:nvSpPr>
        <p:spPr>
          <a:xfrm>
            <a:off x="9297434" y="1185453"/>
            <a:ext cx="1168868" cy="1168867"/>
          </a:xfrm>
          <a:prstGeom prst="ellipse">
            <a:avLst/>
          </a:prstGeom>
          <a:solidFill>
            <a:srgbClr val="0B5FA8"/>
          </a:solidFill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2" name="Google Shape;672;p10"/>
          <p:cNvSpPr/>
          <p:nvPr/>
        </p:nvSpPr>
        <p:spPr>
          <a:xfrm>
            <a:off x="9345142" y="1233222"/>
            <a:ext cx="1073331" cy="1073331"/>
          </a:xfrm>
          <a:prstGeom prst="ellipse">
            <a:avLst/>
          </a:prstGeom>
          <a:solidFill>
            <a:schemeClr val="dk1">
              <a:alpha val="8235"/>
            </a:schemeClr>
          </a:solidFill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73" name="Google Shape;673;p10"/>
          <p:cNvGrpSpPr/>
          <p:nvPr/>
        </p:nvGrpSpPr>
        <p:grpSpPr>
          <a:xfrm>
            <a:off x="9549941" y="1436025"/>
            <a:ext cx="701872" cy="671430"/>
            <a:chOff x="1280769" y="4562144"/>
            <a:chExt cx="631980" cy="604570"/>
          </a:xfrm>
        </p:grpSpPr>
        <p:sp>
          <p:nvSpPr>
            <p:cNvPr id="674" name="Google Shape;674;p10"/>
            <p:cNvSpPr/>
            <p:nvPr/>
          </p:nvSpPr>
          <p:spPr>
            <a:xfrm>
              <a:off x="1280769" y="4857546"/>
              <a:ext cx="631980" cy="309168"/>
            </a:xfrm>
            <a:custGeom>
              <a:avLst/>
              <a:gdLst/>
              <a:ahLst/>
              <a:cxnLst/>
              <a:rect l="l" t="t" r="r" b="b"/>
              <a:pathLst>
                <a:path w="631980" h="309168" extrusionOk="0">
                  <a:moveTo>
                    <a:pt x="314584" y="310447"/>
                  </a:moveTo>
                  <a:cubicBezTo>
                    <a:pt x="292521" y="310447"/>
                    <a:pt x="270468" y="305989"/>
                    <a:pt x="250045" y="297085"/>
                  </a:cubicBezTo>
                  <a:lnTo>
                    <a:pt x="152390" y="254532"/>
                  </a:lnTo>
                  <a:cubicBezTo>
                    <a:pt x="117061" y="239128"/>
                    <a:pt x="79706" y="229371"/>
                    <a:pt x="41365" y="225529"/>
                  </a:cubicBezTo>
                  <a:lnTo>
                    <a:pt x="9296" y="222315"/>
                  </a:lnTo>
                  <a:cubicBezTo>
                    <a:pt x="4016" y="221789"/>
                    <a:pt x="0" y="217336"/>
                    <a:pt x="0" y="212020"/>
                  </a:cubicBezTo>
                  <a:lnTo>
                    <a:pt x="0" y="111184"/>
                  </a:lnTo>
                  <a:cubicBezTo>
                    <a:pt x="0" y="108947"/>
                    <a:pt x="726" y="106768"/>
                    <a:pt x="2067" y="104979"/>
                  </a:cubicBezTo>
                  <a:cubicBezTo>
                    <a:pt x="4465" y="101765"/>
                    <a:pt x="61941" y="26498"/>
                    <a:pt x="149739" y="46081"/>
                  </a:cubicBezTo>
                  <a:cubicBezTo>
                    <a:pt x="199118" y="57081"/>
                    <a:pt x="238876" y="77665"/>
                    <a:pt x="263534" y="92998"/>
                  </a:cubicBezTo>
                  <a:cubicBezTo>
                    <a:pt x="281435" y="104128"/>
                    <a:pt x="302418" y="110006"/>
                    <a:pt x="324216" y="110006"/>
                  </a:cubicBezTo>
                  <a:lnTo>
                    <a:pt x="421871" y="110006"/>
                  </a:lnTo>
                  <a:cubicBezTo>
                    <a:pt x="438703" y="110006"/>
                    <a:pt x="453497" y="118933"/>
                    <a:pt x="461772" y="132324"/>
                  </a:cubicBezTo>
                  <a:lnTo>
                    <a:pt x="545878" y="35194"/>
                  </a:lnTo>
                  <a:cubicBezTo>
                    <a:pt x="562184" y="13367"/>
                    <a:pt x="588860" y="0"/>
                    <a:pt x="616790" y="0"/>
                  </a:cubicBezTo>
                  <a:lnTo>
                    <a:pt x="623073" y="0"/>
                  </a:lnTo>
                  <a:cubicBezTo>
                    <a:pt x="626564" y="0"/>
                    <a:pt x="629812" y="1764"/>
                    <a:pt x="631714" y="4689"/>
                  </a:cubicBezTo>
                  <a:cubicBezTo>
                    <a:pt x="633622" y="7613"/>
                    <a:pt x="633923" y="11313"/>
                    <a:pt x="632523" y="14510"/>
                  </a:cubicBezTo>
                  <a:lnTo>
                    <a:pt x="556455" y="187802"/>
                  </a:lnTo>
                  <a:cubicBezTo>
                    <a:pt x="539824" y="225702"/>
                    <a:pt x="505959" y="254330"/>
                    <a:pt x="465877" y="264377"/>
                  </a:cubicBezTo>
                  <a:lnTo>
                    <a:pt x="452493" y="267728"/>
                  </a:lnTo>
                  <a:lnTo>
                    <a:pt x="374642" y="298945"/>
                  </a:lnTo>
                  <a:cubicBezTo>
                    <a:pt x="355483" y="306622"/>
                    <a:pt x="335031" y="310447"/>
                    <a:pt x="314584" y="310447"/>
                  </a:cubicBezTo>
                  <a:close/>
                  <a:moveTo>
                    <a:pt x="20647" y="202655"/>
                  </a:moveTo>
                  <a:lnTo>
                    <a:pt x="43420" y="204939"/>
                  </a:lnTo>
                  <a:cubicBezTo>
                    <a:pt x="83894" y="208995"/>
                    <a:pt x="123327" y="219302"/>
                    <a:pt x="160629" y="235559"/>
                  </a:cubicBezTo>
                  <a:lnTo>
                    <a:pt x="258277" y="278112"/>
                  </a:lnTo>
                  <a:cubicBezTo>
                    <a:pt x="292614" y="293078"/>
                    <a:pt x="332213" y="293663"/>
                    <a:pt x="366982" y="279722"/>
                  </a:cubicBezTo>
                  <a:lnTo>
                    <a:pt x="445472" y="248252"/>
                  </a:lnTo>
                  <a:cubicBezTo>
                    <a:pt x="445909" y="248079"/>
                    <a:pt x="446352" y="247936"/>
                    <a:pt x="446805" y="247824"/>
                  </a:cubicBezTo>
                  <a:lnTo>
                    <a:pt x="460868" y="244296"/>
                  </a:lnTo>
                  <a:cubicBezTo>
                    <a:pt x="494809" y="235789"/>
                    <a:pt x="523482" y="211553"/>
                    <a:pt x="537557" y="179466"/>
                  </a:cubicBezTo>
                  <a:lnTo>
                    <a:pt x="606940" y="21407"/>
                  </a:lnTo>
                  <a:cubicBezTo>
                    <a:pt x="589175" y="24029"/>
                    <a:pt x="572826" y="33625"/>
                    <a:pt x="561936" y="48177"/>
                  </a:cubicBezTo>
                  <a:lnTo>
                    <a:pt x="468764" y="155815"/>
                  </a:lnTo>
                  <a:cubicBezTo>
                    <a:pt x="468777" y="156218"/>
                    <a:pt x="468783" y="156615"/>
                    <a:pt x="468783" y="157023"/>
                  </a:cubicBezTo>
                  <a:cubicBezTo>
                    <a:pt x="468783" y="182947"/>
                    <a:pt x="447740" y="204040"/>
                    <a:pt x="421877" y="204040"/>
                  </a:cubicBezTo>
                  <a:lnTo>
                    <a:pt x="285628" y="204040"/>
                  </a:lnTo>
                  <a:cubicBezTo>
                    <a:pt x="267916" y="204040"/>
                    <a:pt x="250411" y="206888"/>
                    <a:pt x="233609" y="212500"/>
                  </a:cubicBezTo>
                  <a:lnTo>
                    <a:pt x="229817" y="202849"/>
                  </a:lnTo>
                  <a:lnTo>
                    <a:pt x="226610" y="193017"/>
                  </a:lnTo>
                  <a:lnTo>
                    <a:pt x="227135" y="192845"/>
                  </a:lnTo>
                  <a:cubicBezTo>
                    <a:pt x="245993" y="186547"/>
                    <a:pt x="265689" y="183343"/>
                    <a:pt x="285628" y="183343"/>
                  </a:cubicBezTo>
                  <a:lnTo>
                    <a:pt x="421877" y="183343"/>
                  </a:lnTo>
                  <a:cubicBezTo>
                    <a:pt x="436352" y="183343"/>
                    <a:pt x="448140" y="171532"/>
                    <a:pt x="448140" y="157017"/>
                  </a:cubicBezTo>
                  <a:cubicBezTo>
                    <a:pt x="448140" y="142501"/>
                    <a:pt x="436358" y="130690"/>
                    <a:pt x="421877" y="130690"/>
                  </a:cubicBezTo>
                  <a:lnTo>
                    <a:pt x="324222" y="130690"/>
                  </a:lnTo>
                  <a:cubicBezTo>
                    <a:pt x="298573" y="130690"/>
                    <a:pt x="273827" y="123734"/>
                    <a:pt x="252661" y="110575"/>
                  </a:cubicBezTo>
                  <a:cubicBezTo>
                    <a:pt x="229368" y="96088"/>
                    <a:pt x="191818" y="76653"/>
                    <a:pt x="145274" y="66274"/>
                  </a:cubicBezTo>
                  <a:cubicBezTo>
                    <a:pt x="78785" y="51492"/>
                    <a:pt x="30941" y="102641"/>
                    <a:pt x="20653" y="114842"/>
                  </a:cubicBezTo>
                  <a:lnTo>
                    <a:pt x="20653" y="202655"/>
                  </a:lnTo>
                  <a:close/>
                </a:path>
              </a:pathLst>
            </a:custGeom>
            <a:solidFill>
              <a:schemeClr val="l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675;p10"/>
            <p:cNvSpPr/>
            <p:nvPr/>
          </p:nvSpPr>
          <p:spPr>
            <a:xfrm>
              <a:off x="1622443" y="4701227"/>
              <a:ext cx="145144" cy="153069"/>
            </a:xfrm>
            <a:custGeom>
              <a:avLst/>
              <a:gdLst/>
              <a:ahLst/>
              <a:cxnLst/>
              <a:rect l="l" t="t" r="r" b="b"/>
              <a:pathLst>
                <a:path w="145143" h="153068" extrusionOk="0">
                  <a:moveTo>
                    <a:pt x="64830" y="153980"/>
                  </a:moveTo>
                  <a:cubicBezTo>
                    <a:pt x="48955" y="153980"/>
                    <a:pt x="31155" y="149067"/>
                    <a:pt x="11559" y="139245"/>
                  </a:cubicBezTo>
                  <a:cubicBezTo>
                    <a:pt x="9186" y="138049"/>
                    <a:pt x="7355" y="135977"/>
                    <a:pt x="6457" y="133474"/>
                  </a:cubicBezTo>
                  <a:cubicBezTo>
                    <a:pt x="5658" y="131229"/>
                    <a:pt x="-12785" y="78049"/>
                    <a:pt x="16526" y="38723"/>
                  </a:cubicBezTo>
                  <a:cubicBezTo>
                    <a:pt x="37829" y="10135"/>
                    <a:pt x="77883" y="-2741"/>
                    <a:pt x="135642" y="485"/>
                  </a:cubicBezTo>
                  <a:cubicBezTo>
                    <a:pt x="140911" y="775"/>
                    <a:pt x="145110" y="5008"/>
                    <a:pt x="145370" y="10301"/>
                  </a:cubicBezTo>
                  <a:cubicBezTo>
                    <a:pt x="145576" y="14409"/>
                    <a:pt x="149835" y="111385"/>
                    <a:pt x="100502" y="143673"/>
                  </a:cubicBezTo>
                  <a:cubicBezTo>
                    <a:pt x="90013" y="150546"/>
                    <a:pt x="78096" y="153980"/>
                    <a:pt x="64830" y="153980"/>
                  </a:cubicBezTo>
                  <a:close/>
                  <a:moveTo>
                    <a:pt x="24724" y="122639"/>
                  </a:moveTo>
                  <a:cubicBezTo>
                    <a:pt x="51837" y="135385"/>
                    <a:pt x="73512" y="136635"/>
                    <a:pt x="89222" y="126351"/>
                  </a:cubicBezTo>
                  <a:cubicBezTo>
                    <a:pt x="118474" y="107200"/>
                    <a:pt x="124799" y="50350"/>
                    <a:pt x="124953" y="20762"/>
                  </a:cubicBezTo>
                  <a:cubicBezTo>
                    <a:pt x="79695" y="19654"/>
                    <a:pt x="48884" y="29878"/>
                    <a:pt x="33062" y="51102"/>
                  </a:cubicBezTo>
                  <a:cubicBezTo>
                    <a:pt x="14234" y="76375"/>
                    <a:pt x="21552" y="111136"/>
                    <a:pt x="24724" y="122639"/>
                  </a:cubicBezTo>
                  <a:close/>
                </a:path>
              </a:pathLst>
            </a:custGeom>
            <a:solidFill>
              <a:schemeClr val="l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676;p10"/>
            <p:cNvSpPr/>
            <p:nvPr/>
          </p:nvSpPr>
          <p:spPr>
            <a:xfrm>
              <a:off x="1428508" y="4562144"/>
              <a:ext cx="166311" cy="156100"/>
            </a:xfrm>
            <a:custGeom>
              <a:avLst/>
              <a:gdLst/>
              <a:ahLst/>
              <a:cxnLst/>
              <a:rect l="l" t="t" r="r" b="b"/>
              <a:pathLst>
                <a:path w="166310" h="156099" extrusionOk="0">
                  <a:moveTo>
                    <a:pt x="100912" y="157500"/>
                  </a:moveTo>
                  <a:cubicBezTo>
                    <a:pt x="82609" y="157500"/>
                    <a:pt x="61496" y="153569"/>
                    <a:pt x="43069" y="140042"/>
                  </a:cubicBezTo>
                  <a:cubicBezTo>
                    <a:pt x="11815" y="117084"/>
                    <a:pt x="-2548" y="73376"/>
                    <a:pt x="370" y="10138"/>
                  </a:cubicBezTo>
                  <a:cubicBezTo>
                    <a:pt x="618" y="4851"/>
                    <a:pt x="4800" y="601"/>
                    <a:pt x="10073" y="287"/>
                  </a:cubicBezTo>
                  <a:cubicBezTo>
                    <a:pt x="14538" y="33"/>
                    <a:pt x="120218" y="-5621"/>
                    <a:pt x="155778" y="47884"/>
                  </a:cubicBezTo>
                  <a:cubicBezTo>
                    <a:pt x="172338" y="72790"/>
                    <a:pt x="170980" y="105409"/>
                    <a:pt x="151756" y="144855"/>
                  </a:cubicBezTo>
                  <a:cubicBezTo>
                    <a:pt x="150586" y="147252"/>
                    <a:pt x="148543" y="149105"/>
                    <a:pt x="146046" y="150023"/>
                  </a:cubicBezTo>
                  <a:cubicBezTo>
                    <a:pt x="144658" y="150538"/>
                    <a:pt x="125280" y="157500"/>
                    <a:pt x="100912" y="157500"/>
                  </a:cubicBezTo>
                  <a:close/>
                  <a:moveTo>
                    <a:pt x="142484" y="140314"/>
                  </a:moveTo>
                  <a:lnTo>
                    <a:pt x="142583" y="140314"/>
                  </a:lnTo>
                  <a:close/>
                  <a:moveTo>
                    <a:pt x="20685" y="20646"/>
                  </a:moveTo>
                  <a:cubicBezTo>
                    <a:pt x="19795" y="71298"/>
                    <a:pt x="31411" y="105824"/>
                    <a:pt x="55266" y="123347"/>
                  </a:cubicBezTo>
                  <a:cubicBezTo>
                    <a:pt x="83826" y="144322"/>
                    <a:pt x="122823" y="135406"/>
                    <a:pt x="135084" y="131825"/>
                  </a:cubicBezTo>
                  <a:cubicBezTo>
                    <a:pt x="149110" y="101313"/>
                    <a:pt x="150297" y="76952"/>
                    <a:pt x="138604" y="59357"/>
                  </a:cubicBezTo>
                  <a:cubicBezTo>
                    <a:pt x="116870" y="26655"/>
                    <a:pt x="53133" y="20261"/>
                    <a:pt x="20685" y="20646"/>
                  </a:cubicBezTo>
                  <a:close/>
                </a:path>
              </a:pathLst>
            </a:custGeom>
            <a:solidFill>
              <a:schemeClr val="l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677;p10"/>
            <p:cNvSpPr/>
            <p:nvPr/>
          </p:nvSpPr>
          <p:spPr>
            <a:xfrm>
              <a:off x="1491115" y="4628354"/>
              <a:ext cx="220739" cy="356150"/>
            </a:xfrm>
            <a:custGeom>
              <a:avLst/>
              <a:gdLst/>
              <a:ahLst/>
              <a:cxnLst/>
              <a:rect l="l" t="t" r="r" b="b"/>
              <a:pathLst>
                <a:path w="220739" h="356149" extrusionOk="0">
                  <a:moveTo>
                    <a:pt x="118914" y="356248"/>
                  </a:moveTo>
                  <a:cubicBezTo>
                    <a:pt x="118591" y="356248"/>
                    <a:pt x="118266" y="356230"/>
                    <a:pt x="117935" y="356201"/>
                  </a:cubicBezTo>
                  <a:cubicBezTo>
                    <a:pt x="112436" y="355680"/>
                    <a:pt x="108320" y="350913"/>
                    <a:pt x="108597" y="345379"/>
                  </a:cubicBezTo>
                  <a:cubicBezTo>
                    <a:pt x="109205" y="333207"/>
                    <a:pt x="110245" y="321662"/>
                    <a:pt x="111657" y="310723"/>
                  </a:cubicBezTo>
                  <a:cubicBezTo>
                    <a:pt x="115949" y="237503"/>
                    <a:pt x="113736" y="66994"/>
                    <a:pt x="6189" y="19823"/>
                  </a:cubicBezTo>
                  <a:cubicBezTo>
                    <a:pt x="968" y="17532"/>
                    <a:pt x="-1417" y="11435"/>
                    <a:pt x="867" y="6195"/>
                  </a:cubicBezTo>
                  <a:cubicBezTo>
                    <a:pt x="3147" y="968"/>
                    <a:pt x="9248" y="-1418"/>
                    <a:pt x="14462" y="867"/>
                  </a:cubicBezTo>
                  <a:cubicBezTo>
                    <a:pt x="77839" y="28662"/>
                    <a:pt x="117709" y="97862"/>
                    <a:pt x="129741" y="200983"/>
                  </a:cubicBezTo>
                  <a:cubicBezTo>
                    <a:pt x="130821" y="210223"/>
                    <a:pt x="131631" y="219335"/>
                    <a:pt x="132233" y="228208"/>
                  </a:cubicBezTo>
                  <a:cubicBezTo>
                    <a:pt x="160557" y="156465"/>
                    <a:pt x="203888" y="131114"/>
                    <a:pt x="206471" y="129664"/>
                  </a:cubicBezTo>
                  <a:cubicBezTo>
                    <a:pt x="211431" y="126851"/>
                    <a:pt x="217727" y="128639"/>
                    <a:pt x="220526" y="133607"/>
                  </a:cubicBezTo>
                  <a:cubicBezTo>
                    <a:pt x="223307" y="138580"/>
                    <a:pt x="221560" y="144872"/>
                    <a:pt x="216616" y="147679"/>
                  </a:cubicBezTo>
                  <a:cubicBezTo>
                    <a:pt x="215524" y="148319"/>
                    <a:pt x="149077" y="188291"/>
                    <a:pt x="132398" y="311556"/>
                  </a:cubicBezTo>
                  <a:cubicBezTo>
                    <a:pt x="131128" y="332645"/>
                    <a:pt x="129298" y="346089"/>
                    <a:pt x="129126" y="347320"/>
                  </a:cubicBezTo>
                  <a:cubicBezTo>
                    <a:pt x="128412" y="352482"/>
                    <a:pt x="124011" y="356248"/>
                    <a:pt x="118914" y="356248"/>
                  </a:cubicBezTo>
                  <a:close/>
                </a:path>
              </a:pathLst>
            </a:custGeom>
            <a:solidFill>
              <a:schemeClr val="l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8" name="Google Shape;678;p10"/>
          <p:cNvSpPr/>
          <p:nvPr/>
        </p:nvSpPr>
        <p:spPr>
          <a:xfrm>
            <a:off x="5595453" y="1185453"/>
            <a:ext cx="1168868" cy="1168867"/>
          </a:xfrm>
          <a:prstGeom prst="ellipse">
            <a:avLst/>
          </a:prstGeom>
          <a:solidFill>
            <a:srgbClr val="4C9ADC"/>
          </a:solidFill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9" name="Google Shape;679;p10"/>
          <p:cNvSpPr/>
          <p:nvPr/>
        </p:nvSpPr>
        <p:spPr>
          <a:xfrm>
            <a:off x="5643161" y="1233222"/>
            <a:ext cx="1073331" cy="1073331"/>
          </a:xfrm>
          <a:prstGeom prst="ellipse">
            <a:avLst/>
          </a:prstGeom>
          <a:solidFill>
            <a:schemeClr val="dk1">
              <a:alpha val="8235"/>
            </a:schemeClr>
          </a:solidFill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0" name="Google Shape;680;p10"/>
          <p:cNvSpPr/>
          <p:nvPr/>
        </p:nvSpPr>
        <p:spPr>
          <a:xfrm>
            <a:off x="2110564" y="1185453"/>
            <a:ext cx="1168868" cy="1168867"/>
          </a:xfrm>
          <a:prstGeom prst="ellipse">
            <a:avLst/>
          </a:prstGeom>
          <a:solidFill>
            <a:srgbClr val="8EC5F7"/>
          </a:solidFill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10"/>
          <p:cNvSpPr/>
          <p:nvPr/>
        </p:nvSpPr>
        <p:spPr>
          <a:xfrm>
            <a:off x="2158272" y="1233222"/>
            <a:ext cx="1073331" cy="1073331"/>
          </a:xfrm>
          <a:prstGeom prst="ellipse">
            <a:avLst/>
          </a:prstGeom>
          <a:solidFill>
            <a:schemeClr val="dk1">
              <a:alpha val="8235"/>
            </a:schemeClr>
          </a:solidFill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82" name="Google Shape;682;p10"/>
          <p:cNvGrpSpPr/>
          <p:nvPr/>
        </p:nvGrpSpPr>
        <p:grpSpPr>
          <a:xfrm>
            <a:off x="5817051" y="1436026"/>
            <a:ext cx="713630" cy="713623"/>
            <a:chOff x="5307820" y="1890681"/>
            <a:chExt cx="446626" cy="446624"/>
          </a:xfrm>
        </p:grpSpPr>
        <p:sp>
          <p:nvSpPr>
            <p:cNvPr id="683" name="Google Shape;683;p10"/>
            <p:cNvSpPr/>
            <p:nvPr/>
          </p:nvSpPr>
          <p:spPr>
            <a:xfrm>
              <a:off x="5351044" y="2005939"/>
              <a:ext cx="360181" cy="331366"/>
            </a:xfrm>
            <a:custGeom>
              <a:avLst/>
              <a:gdLst/>
              <a:ahLst/>
              <a:cxnLst/>
              <a:rect l="l" t="t" r="r" b="b"/>
              <a:pathLst>
                <a:path w="360181" h="331366" extrusionOk="0">
                  <a:moveTo>
                    <a:pt x="338570" y="72036"/>
                  </a:moveTo>
                  <a:lnTo>
                    <a:pt x="324163" y="72036"/>
                  </a:lnTo>
                  <a:cubicBezTo>
                    <a:pt x="312248" y="72036"/>
                    <a:pt x="302552" y="81732"/>
                    <a:pt x="302552" y="93647"/>
                  </a:cubicBezTo>
                  <a:lnTo>
                    <a:pt x="302552" y="96399"/>
                  </a:lnTo>
                  <a:lnTo>
                    <a:pt x="299844" y="97753"/>
                  </a:lnTo>
                  <a:cubicBezTo>
                    <a:pt x="292626" y="101362"/>
                    <a:pt x="288145" y="108616"/>
                    <a:pt x="288145" y="116677"/>
                  </a:cubicBezTo>
                  <a:cubicBezTo>
                    <a:pt x="288145" y="122332"/>
                    <a:pt x="290349" y="127641"/>
                    <a:pt x="294340" y="131639"/>
                  </a:cubicBezTo>
                  <a:lnTo>
                    <a:pt x="302552" y="139851"/>
                  </a:lnTo>
                  <a:lnTo>
                    <a:pt x="302552" y="204324"/>
                  </a:lnTo>
                  <a:cubicBezTo>
                    <a:pt x="302552" y="205339"/>
                    <a:pt x="302134" y="206333"/>
                    <a:pt x="301421" y="207054"/>
                  </a:cubicBezTo>
                  <a:cubicBezTo>
                    <a:pt x="300550" y="207918"/>
                    <a:pt x="299318" y="208322"/>
                    <a:pt x="298108" y="208142"/>
                  </a:cubicBezTo>
                  <a:lnTo>
                    <a:pt x="294030" y="207515"/>
                  </a:lnTo>
                  <a:cubicBezTo>
                    <a:pt x="291026" y="197610"/>
                    <a:pt x="283261" y="191019"/>
                    <a:pt x="276785" y="185587"/>
                  </a:cubicBezTo>
                  <a:cubicBezTo>
                    <a:pt x="270410" y="180242"/>
                    <a:pt x="266534" y="176712"/>
                    <a:pt x="266534" y="172887"/>
                  </a:cubicBezTo>
                  <a:cubicBezTo>
                    <a:pt x="266534" y="162968"/>
                    <a:pt x="268184" y="156384"/>
                    <a:pt x="269920" y="149425"/>
                  </a:cubicBezTo>
                  <a:cubicBezTo>
                    <a:pt x="271793" y="141919"/>
                    <a:pt x="273738" y="134153"/>
                    <a:pt x="273738" y="122462"/>
                  </a:cubicBezTo>
                  <a:cubicBezTo>
                    <a:pt x="273738" y="103206"/>
                    <a:pt x="263797" y="89087"/>
                    <a:pt x="259331" y="83713"/>
                  </a:cubicBezTo>
                  <a:lnTo>
                    <a:pt x="259331" y="82842"/>
                  </a:lnTo>
                  <a:cubicBezTo>
                    <a:pt x="259331" y="37164"/>
                    <a:pt x="222167" y="0"/>
                    <a:pt x="176489" y="0"/>
                  </a:cubicBezTo>
                  <a:cubicBezTo>
                    <a:pt x="130811" y="0"/>
                    <a:pt x="93647" y="37164"/>
                    <a:pt x="93647" y="82842"/>
                  </a:cubicBezTo>
                  <a:lnTo>
                    <a:pt x="93647" y="132338"/>
                  </a:lnTo>
                  <a:cubicBezTo>
                    <a:pt x="85961" y="136696"/>
                    <a:pt x="72036" y="148027"/>
                    <a:pt x="72036" y="172887"/>
                  </a:cubicBezTo>
                  <a:cubicBezTo>
                    <a:pt x="72036" y="185112"/>
                    <a:pt x="77511" y="195694"/>
                    <a:pt x="85168" y="204583"/>
                  </a:cubicBezTo>
                  <a:lnTo>
                    <a:pt x="62088" y="208134"/>
                  </a:lnTo>
                  <a:cubicBezTo>
                    <a:pt x="60842" y="208322"/>
                    <a:pt x="59632" y="207911"/>
                    <a:pt x="58767" y="207047"/>
                  </a:cubicBezTo>
                  <a:cubicBezTo>
                    <a:pt x="58047" y="206326"/>
                    <a:pt x="57636" y="205332"/>
                    <a:pt x="57636" y="204316"/>
                  </a:cubicBezTo>
                  <a:lnTo>
                    <a:pt x="57636" y="139844"/>
                  </a:lnTo>
                  <a:lnTo>
                    <a:pt x="65848" y="131632"/>
                  </a:lnTo>
                  <a:cubicBezTo>
                    <a:pt x="69832" y="127648"/>
                    <a:pt x="72036" y="122332"/>
                    <a:pt x="72036" y="116677"/>
                  </a:cubicBezTo>
                  <a:cubicBezTo>
                    <a:pt x="72036" y="108609"/>
                    <a:pt x="67556" y="101362"/>
                    <a:pt x="60338" y="97753"/>
                  </a:cubicBezTo>
                  <a:lnTo>
                    <a:pt x="57629" y="96399"/>
                  </a:lnTo>
                  <a:lnTo>
                    <a:pt x="57629" y="93647"/>
                  </a:lnTo>
                  <a:cubicBezTo>
                    <a:pt x="57629" y="81732"/>
                    <a:pt x="47933" y="72036"/>
                    <a:pt x="36018" y="72036"/>
                  </a:cubicBezTo>
                  <a:lnTo>
                    <a:pt x="21611" y="72036"/>
                  </a:lnTo>
                  <a:cubicBezTo>
                    <a:pt x="9696" y="72036"/>
                    <a:pt x="0" y="81732"/>
                    <a:pt x="0" y="93647"/>
                  </a:cubicBezTo>
                  <a:lnTo>
                    <a:pt x="0" y="211830"/>
                  </a:lnTo>
                  <a:cubicBezTo>
                    <a:pt x="0" y="225798"/>
                    <a:pt x="5439" y="238937"/>
                    <a:pt x="15322" y="248828"/>
                  </a:cubicBezTo>
                  <a:cubicBezTo>
                    <a:pt x="26819" y="260317"/>
                    <a:pt x="42667" y="265778"/>
                    <a:pt x="58803" y="263739"/>
                  </a:cubicBezTo>
                  <a:lnTo>
                    <a:pt x="93647" y="259388"/>
                  </a:lnTo>
                  <a:lnTo>
                    <a:pt x="93647" y="331367"/>
                  </a:lnTo>
                  <a:lnTo>
                    <a:pt x="266534" y="331367"/>
                  </a:lnTo>
                  <a:lnTo>
                    <a:pt x="266534" y="259388"/>
                  </a:lnTo>
                  <a:lnTo>
                    <a:pt x="301378" y="263739"/>
                  </a:lnTo>
                  <a:cubicBezTo>
                    <a:pt x="317500" y="265785"/>
                    <a:pt x="333355" y="260317"/>
                    <a:pt x="344859" y="248820"/>
                  </a:cubicBezTo>
                  <a:cubicBezTo>
                    <a:pt x="354743" y="238937"/>
                    <a:pt x="360181" y="225798"/>
                    <a:pt x="360181" y="211830"/>
                  </a:cubicBezTo>
                  <a:lnTo>
                    <a:pt x="360181" y="93647"/>
                  </a:lnTo>
                  <a:cubicBezTo>
                    <a:pt x="360181" y="81732"/>
                    <a:pt x="350485" y="72036"/>
                    <a:pt x="338570" y="72036"/>
                  </a:cubicBezTo>
                  <a:close/>
                  <a:moveTo>
                    <a:pt x="306291" y="110640"/>
                  </a:moveTo>
                  <a:lnTo>
                    <a:pt x="316960" y="105303"/>
                  </a:lnTo>
                  <a:lnTo>
                    <a:pt x="316960" y="93647"/>
                  </a:lnTo>
                  <a:cubicBezTo>
                    <a:pt x="316960" y="89678"/>
                    <a:pt x="320187" y="86444"/>
                    <a:pt x="324163" y="86444"/>
                  </a:cubicBezTo>
                  <a:lnTo>
                    <a:pt x="338570" y="86444"/>
                  </a:lnTo>
                  <a:cubicBezTo>
                    <a:pt x="342547" y="86444"/>
                    <a:pt x="345774" y="89678"/>
                    <a:pt x="345774" y="93647"/>
                  </a:cubicBezTo>
                  <a:lnTo>
                    <a:pt x="345774" y="129665"/>
                  </a:lnTo>
                  <a:lnTo>
                    <a:pt x="312738" y="129665"/>
                  </a:lnTo>
                  <a:lnTo>
                    <a:pt x="304526" y="121453"/>
                  </a:lnTo>
                  <a:cubicBezTo>
                    <a:pt x="303258" y="120178"/>
                    <a:pt x="302552" y="118485"/>
                    <a:pt x="302552" y="116677"/>
                  </a:cubicBezTo>
                  <a:cubicBezTo>
                    <a:pt x="302552" y="114105"/>
                    <a:pt x="303979" y="111793"/>
                    <a:pt x="306291" y="110640"/>
                  </a:cubicBezTo>
                  <a:close/>
                  <a:moveTo>
                    <a:pt x="103127" y="143705"/>
                  </a:moveTo>
                  <a:lnTo>
                    <a:pt x="108054" y="142063"/>
                  </a:lnTo>
                  <a:lnTo>
                    <a:pt x="108054" y="82842"/>
                  </a:lnTo>
                  <a:cubicBezTo>
                    <a:pt x="108054" y="45109"/>
                    <a:pt x="138756" y="14407"/>
                    <a:pt x="176489" y="14407"/>
                  </a:cubicBezTo>
                  <a:cubicBezTo>
                    <a:pt x="214221" y="14407"/>
                    <a:pt x="244923" y="45109"/>
                    <a:pt x="244923" y="82842"/>
                  </a:cubicBezTo>
                  <a:lnTo>
                    <a:pt x="244923" y="89426"/>
                  </a:lnTo>
                  <a:lnTo>
                    <a:pt x="247034" y="91536"/>
                  </a:lnTo>
                  <a:cubicBezTo>
                    <a:pt x="247156" y="91659"/>
                    <a:pt x="259331" y="104049"/>
                    <a:pt x="259331" y="122462"/>
                  </a:cubicBezTo>
                  <a:cubicBezTo>
                    <a:pt x="259331" y="132381"/>
                    <a:pt x="257681" y="138965"/>
                    <a:pt x="255945" y="145924"/>
                  </a:cubicBezTo>
                  <a:cubicBezTo>
                    <a:pt x="254072" y="153430"/>
                    <a:pt x="252127" y="161196"/>
                    <a:pt x="252127" y="172887"/>
                  </a:cubicBezTo>
                  <a:cubicBezTo>
                    <a:pt x="252127" y="183714"/>
                    <a:pt x="260310" y="190572"/>
                    <a:pt x="267528" y="196623"/>
                  </a:cubicBezTo>
                  <a:cubicBezTo>
                    <a:pt x="270741" y="199317"/>
                    <a:pt x="273853" y="201932"/>
                    <a:pt x="276281" y="204777"/>
                  </a:cubicBezTo>
                  <a:lnTo>
                    <a:pt x="216109" y="195521"/>
                  </a:lnTo>
                  <a:lnTo>
                    <a:pt x="216109" y="181783"/>
                  </a:lnTo>
                  <a:cubicBezTo>
                    <a:pt x="229263" y="171209"/>
                    <a:pt x="237720" y="155022"/>
                    <a:pt x="237720" y="136869"/>
                  </a:cubicBezTo>
                  <a:lnTo>
                    <a:pt x="237720" y="79240"/>
                  </a:lnTo>
                  <a:lnTo>
                    <a:pt x="198856" y="79240"/>
                  </a:lnTo>
                  <a:cubicBezTo>
                    <a:pt x="183289" y="79240"/>
                    <a:pt x="168219" y="74680"/>
                    <a:pt x="155267" y="66043"/>
                  </a:cubicBezTo>
                  <a:lnTo>
                    <a:pt x="151276" y="63377"/>
                  </a:lnTo>
                  <a:lnTo>
                    <a:pt x="122462" y="82590"/>
                  </a:lnTo>
                  <a:lnTo>
                    <a:pt x="122462" y="136869"/>
                  </a:lnTo>
                  <a:cubicBezTo>
                    <a:pt x="122462" y="158069"/>
                    <a:pt x="134002" y="176575"/>
                    <a:pt x="151089" y="186588"/>
                  </a:cubicBezTo>
                  <a:cubicBezTo>
                    <a:pt x="150736" y="190846"/>
                    <a:pt x="149756" y="195053"/>
                    <a:pt x="147084" y="197977"/>
                  </a:cubicBezTo>
                  <a:lnTo>
                    <a:pt x="142444" y="203070"/>
                  </a:lnTo>
                  <a:lnTo>
                    <a:pt x="147314" y="207940"/>
                  </a:lnTo>
                  <a:cubicBezTo>
                    <a:pt x="154244" y="214863"/>
                    <a:pt x="158422" y="219069"/>
                    <a:pt x="158473" y="230350"/>
                  </a:cubicBezTo>
                  <a:lnTo>
                    <a:pt x="158012" y="236337"/>
                  </a:lnTo>
                  <a:cubicBezTo>
                    <a:pt x="156607" y="245478"/>
                    <a:pt x="151262" y="259561"/>
                    <a:pt x="132928" y="270892"/>
                  </a:cubicBezTo>
                  <a:cubicBezTo>
                    <a:pt x="128397" y="263256"/>
                    <a:pt x="121813" y="257458"/>
                    <a:pt x="115834" y="252199"/>
                  </a:cubicBezTo>
                  <a:cubicBezTo>
                    <a:pt x="112823" y="249548"/>
                    <a:pt x="110237" y="247192"/>
                    <a:pt x="108054" y="244938"/>
                  </a:cubicBezTo>
                  <a:lnTo>
                    <a:pt x="108054" y="244923"/>
                  </a:lnTo>
                  <a:lnTo>
                    <a:pt x="108040" y="244923"/>
                  </a:lnTo>
                  <a:cubicBezTo>
                    <a:pt x="103494" y="240226"/>
                    <a:pt x="100851" y="235969"/>
                    <a:pt x="100851" y="230516"/>
                  </a:cubicBezTo>
                  <a:cubicBezTo>
                    <a:pt x="100851" y="226194"/>
                    <a:pt x="101629" y="222765"/>
                    <a:pt x="102580" y="220150"/>
                  </a:cubicBezTo>
                  <a:cubicBezTo>
                    <a:pt x="117729" y="230898"/>
                    <a:pt x="133080" y="236783"/>
                    <a:pt x="134340" y="237259"/>
                  </a:cubicBezTo>
                  <a:lnTo>
                    <a:pt x="139405" y="223766"/>
                  </a:lnTo>
                  <a:cubicBezTo>
                    <a:pt x="124673" y="218248"/>
                    <a:pt x="86444" y="198337"/>
                    <a:pt x="86444" y="172887"/>
                  </a:cubicBezTo>
                  <a:cubicBezTo>
                    <a:pt x="86444" y="149929"/>
                    <a:pt x="102508" y="143921"/>
                    <a:pt x="103127" y="143705"/>
                  </a:cubicBezTo>
                  <a:close/>
                  <a:moveTo>
                    <a:pt x="180091" y="180091"/>
                  </a:moveTo>
                  <a:cubicBezTo>
                    <a:pt x="156254" y="180091"/>
                    <a:pt x="136869" y="160706"/>
                    <a:pt x="136869" y="136869"/>
                  </a:cubicBezTo>
                  <a:lnTo>
                    <a:pt x="136869" y="90297"/>
                  </a:lnTo>
                  <a:lnTo>
                    <a:pt x="151391" y="80616"/>
                  </a:lnTo>
                  <a:cubicBezTo>
                    <a:pt x="165755" y="89152"/>
                    <a:pt x="182057" y="93647"/>
                    <a:pt x="198856" y="93647"/>
                  </a:cubicBezTo>
                  <a:lnTo>
                    <a:pt x="223312" y="93647"/>
                  </a:lnTo>
                  <a:lnTo>
                    <a:pt x="223312" y="136869"/>
                  </a:lnTo>
                  <a:cubicBezTo>
                    <a:pt x="223312" y="160706"/>
                    <a:pt x="203927" y="180091"/>
                    <a:pt x="180091" y="180091"/>
                  </a:cubicBezTo>
                  <a:close/>
                  <a:moveTo>
                    <a:pt x="180091" y="194498"/>
                  </a:moveTo>
                  <a:cubicBezTo>
                    <a:pt x="187734" y="194498"/>
                    <a:pt x="195024" y="192971"/>
                    <a:pt x="201702" y="190255"/>
                  </a:cubicBezTo>
                  <a:lnTo>
                    <a:pt x="201702" y="198719"/>
                  </a:lnTo>
                  <a:lnTo>
                    <a:pt x="177108" y="223312"/>
                  </a:lnTo>
                  <a:lnTo>
                    <a:pt x="172325" y="223312"/>
                  </a:lnTo>
                  <a:cubicBezTo>
                    <a:pt x="170877" y="213551"/>
                    <a:pt x="166577" y="207328"/>
                    <a:pt x="161671" y="202026"/>
                  </a:cubicBezTo>
                  <a:cubicBezTo>
                    <a:pt x="163292" y="198914"/>
                    <a:pt x="164243" y="195629"/>
                    <a:pt x="164826" y="192380"/>
                  </a:cubicBezTo>
                  <a:cubicBezTo>
                    <a:pt x="169703" y="193720"/>
                    <a:pt x="174803" y="194498"/>
                    <a:pt x="180091" y="194498"/>
                  </a:cubicBezTo>
                  <a:close/>
                  <a:moveTo>
                    <a:pt x="172368" y="237720"/>
                  </a:moveTo>
                  <a:lnTo>
                    <a:pt x="177108" y="237720"/>
                  </a:lnTo>
                  <a:lnTo>
                    <a:pt x="184391" y="245003"/>
                  </a:lnTo>
                  <a:lnTo>
                    <a:pt x="193525" y="316960"/>
                  </a:lnTo>
                  <a:lnTo>
                    <a:pt x="166260" y="316960"/>
                  </a:lnTo>
                  <a:lnTo>
                    <a:pt x="172340" y="237950"/>
                  </a:lnTo>
                  <a:cubicBezTo>
                    <a:pt x="172347" y="237871"/>
                    <a:pt x="172354" y="237799"/>
                    <a:pt x="172368" y="237720"/>
                  </a:cubicBezTo>
                  <a:close/>
                  <a:moveTo>
                    <a:pt x="190277" y="230516"/>
                  </a:moveTo>
                  <a:lnTo>
                    <a:pt x="211419" y="209373"/>
                  </a:lnTo>
                  <a:lnTo>
                    <a:pt x="212586" y="209553"/>
                  </a:lnTo>
                  <a:lnTo>
                    <a:pt x="204720" y="244952"/>
                  </a:lnTo>
                  <a:close/>
                  <a:moveTo>
                    <a:pt x="21611" y="86444"/>
                  </a:moveTo>
                  <a:lnTo>
                    <a:pt x="36018" y="86444"/>
                  </a:lnTo>
                  <a:cubicBezTo>
                    <a:pt x="39995" y="86444"/>
                    <a:pt x="43222" y="89678"/>
                    <a:pt x="43222" y="93647"/>
                  </a:cubicBezTo>
                  <a:lnTo>
                    <a:pt x="43222" y="105303"/>
                  </a:lnTo>
                  <a:lnTo>
                    <a:pt x="53890" y="110640"/>
                  </a:lnTo>
                  <a:cubicBezTo>
                    <a:pt x="56203" y="111793"/>
                    <a:pt x="57629" y="114105"/>
                    <a:pt x="57629" y="116677"/>
                  </a:cubicBezTo>
                  <a:cubicBezTo>
                    <a:pt x="57629" y="118478"/>
                    <a:pt x="56923" y="120178"/>
                    <a:pt x="55655" y="121453"/>
                  </a:cubicBezTo>
                  <a:lnTo>
                    <a:pt x="47443" y="129665"/>
                  </a:lnTo>
                  <a:lnTo>
                    <a:pt x="14407" y="129665"/>
                  </a:lnTo>
                  <a:lnTo>
                    <a:pt x="14407" y="93647"/>
                  </a:lnTo>
                  <a:cubicBezTo>
                    <a:pt x="14407" y="89678"/>
                    <a:pt x="17634" y="86444"/>
                    <a:pt x="21611" y="86444"/>
                  </a:cubicBezTo>
                  <a:close/>
                  <a:moveTo>
                    <a:pt x="57017" y="249447"/>
                  </a:moveTo>
                  <a:cubicBezTo>
                    <a:pt x="45275" y="250895"/>
                    <a:pt x="33843" y="246969"/>
                    <a:pt x="25508" y="238642"/>
                  </a:cubicBezTo>
                  <a:cubicBezTo>
                    <a:pt x="18355" y="231474"/>
                    <a:pt x="14407" y="221951"/>
                    <a:pt x="14407" y="211830"/>
                  </a:cubicBezTo>
                  <a:lnTo>
                    <a:pt x="14407" y="144073"/>
                  </a:lnTo>
                  <a:lnTo>
                    <a:pt x="43222" y="144073"/>
                  </a:lnTo>
                  <a:lnTo>
                    <a:pt x="43222" y="204324"/>
                  </a:lnTo>
                  <a:cubicBezTo>
                    <a:pt x="43222" y="209200"/>
                    <a:pt x="45124" y="213789"/>
                    <a:pt x="48574" y="217240"/>
                  </a:cubicBezTo>
                  <a:cubicBezTo>
                    <a:pt x="52666" y="221339"/>
                    <a:pt x="58537" y="223248"/>
                    <a:pt x="64271" y="222376"/>
                  </a:cubicBezTo>
                  <a:lnTo>
                    <a:pt x="87956" y="218731"/>
                  </a:lnTo>
                  <a:cubicBezTo>
                    <a:pt x="87063" y="222102"/>
                    <a:pt x="86444" y="225999"/>
                    <a:pt x="86444" y="230516"/>
                  </a:cubicBezTo>
                  <a:cubicBezTo>
                    <a:pt x="86444" y="236192"/>
                    <a:pt x="87963" y="241040"/>
                    <a:pt x="90341" y="245334"/>
                  </a:cubicBezTo>
                  <a:close/>
                  <a:moveTo>
                    <a:pt x="108054" y="264568"/>
                  </a:moveTo>
                  <a:cubicBezTo>
                    <a:pt x="114494" y="270273"/>
                    <a:pt x="120380" y="275863"/>
                    <a:pt x="122836" y="283218"/>
                  </a:cubicBezTo>
                  <a:lnTo>
                    <a:pt x="125458" y="291099"/>
                  </a:lnTo>
                  <a:lnTo>
                    <a:pt x="132885" y="287381"/>
                  </a:lnTo>
                  <a:cubicBezTo>
                    <a:pt x="142473" y="282591"/>
                    <a:pt x="149735" y="277109"/>
                    <a:pt x="155310" y="271440"/>
                  </a:cubicBezTo>
                  <a:lnTo>
                    <a:pt x="151809" y="316960"/>
                  </a:lnTo>
                  <a:lnTo>
                    <a:pt x="108054" y="316960"/>
                  </a:lnTo>
                  <a:close/>
                  <a:moveTo>
                    <a:pt x="334673" y="238634"/>
                  </a:moveTo>
                  <a:cubicBezTo>
                    <a:pt x="326339" y="246969"/>
                    <a:pt x="314892" y="250902"/>
                    <a:pt x="303165" y="249447"/>
                  </a:cubicBezTo>
                  <a:lnTo>
                    <a:pt x="267427" y="244981"/>
                  </a:lnTo>
                  <a:lnTo>
                    <a:pt x="252127" y="244923"/>
                  </a:lnTo>
                  <a:lnTo>
                    <a:pt x="252127" y="316960"/>
                  </a:lnTo>
                  <a:lnTo>
                    <a:pt x="208048" y="316960"/>
                  </a:lnTo>
                  <a:lnTo>
                    <a:pt x="201024" y="261636"/>
                  </a:lnTo>
                  <a:lnTo>
                    <a:pt x="213090" y="273702"/>
                  </a:lnTo>
                  <a:lnTo>
                    <a:pt x="226857" y="211751"/>
                  </a:lnTo>
                  <a:lnTo>
                    <a:pt x="295918" y="222376"/>
                  </a:lnTo>
                  <a:cubicBezTo>
                    <a:pt x="301630" y="223248"/>
                    <a:pt x="307508" y="221331"/>
                    <a:pt x="311607" y="217240"/>
                  </a:cubicBezTo>
                  <a:cubicBezTo>
                    <a:pt x="315058" y="213789"/>
                    <a:pt x="316960" y="209200"/>
                    <a:pt x="316960" y="204324"/>
                  </a:cubicBezTo>
                  <a:lnTo>
                    <a:pt x="316960" y="144073"/>
                  </a:lnTo>
                  <a:lnTo>
                    <a:pt x="345774" y="144073"/>
                  </a:lnTo>
                  <a:lnTo>
                    <a:pt x="345774" y="211830"/>
                  </a:lnTo>
                  <a:cubicBezTo>
                    <a:pt x="345774" y="221951"/>
                    <a:pt x="341826" y="231474"/>
                    <a:pt x="334673" y="23863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684;p10"/>
            <p:cNvSpPr/>
            <p:nvPr/>
          </p:nvSpPr>
          <p:spPr>
            <a:xfrm>
              <a:off x="5480709" y="1890681"/>
              <a:ext cx="100850" cy="100850"/>
            </a:xfrm>
            <a:custGeom>
              <a:avLst/>
              <a:gdLst/>
              <a:ahLst/>
              <a:cxnLst/>
              <a:rect l="l" t="t" r="r" b="b"/>
              <a:pathLst>
                <a:path w="100850" h="100850" extrusionOk="0">
                  <a:moveTo>
                    <a:pt x="50425" y="100851"/>
                  </a:moveTo>
                  <a:cubicBezTo>
                    <a:pt x="78224" y="100851"/>
                    <a:pt x="100851" y="78231"/>
                    <a:pt x="100851" y="50425"/>
                  </a:cubicBezTo>
                  <a:cubicBezTo>
                    <a:pt x="100851" y="22619"/>
                    <a:pt x="78224" y="0"/>
                    <a:pt x="50425" y="0"/>
                  </a:cubicBezTo>
                  <a:cubicBezTo>
                    <a:pt x="22627" y="0"/>
                    <a:pt x="0" y="22619"/>
                    <a:pt x="0" y="50425"/>
                  </a:cubicBezTo>
                  <a:cubicBezTo>
                    <a:pt x="0" y="78231"/>
                    <a:pt x="22627" y="100851"/>
                    <a:pt x="50425" y="100851"/>
                  </a:cubicBezTo>
                  <a:close/>
                  <a:moveTo>
                    <a:pt x="50425" y="14407"/>
                  </a:moveTo>
                  <a:cubicBezTo>
                    <a:pt x="70286" y="14407"/>
                    <a:pt x="86444" y="30565"/>
                    <a:pt x="86444" y="50425"/>
                  </a:cubicBezTo>
                  <a:cubicBezTo>
                    <a:pt x="86444" y="70286"/>
                    <a:pt x="70286" y="86444"/>
                    <a:pt x="50425" y="86444"/>
                  </a:cubicBezTo>
                  <a:cubicBezTo>
                    <a:pt x="30565" y="86444"/>
                    <a:pt x="14407" y="70286"/>
                    <a:pt x="14407" y="50425"/>
                  </a:cubicBezTo>
                  <a:cubicBezTo>
                    <a:pt x="14407" y="30565"/>
                    <a:pt x="30565" y="14407"/>
                    <a:pt x="50425" y="144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685;p10"/>
            <p:cNvSpPr/>
            <p:nvPr/>
          </p:nvSpPr>
          <p:spPr>
            <a:xfrm>
              <a:off x="5504431" y="1921606"/>
              <a:ext cx="53407" cy="44093"/>
            </a:xfrm>
            <a:custGeom>
              <a:avLst/>
              <a:gdLst/>
              <a:ahLst/>
              <a:cxnLst/>
              <a:rect l="l" t="t" r="r" b="b"/>
              <a:pathLst>
                <a:path w="53407" h="44093" extrusionOk="0">
                  <a:moveTo>
                    <a:pt x="53408" y="10186"/>
                  </a:moveTo>
                  <a:lnTo>
                    <a:pt x="43222" y="0"/>
                  </a:lnTo>
                  <a:lnTo>
                    <a:pt x="19500" y="23722"/>
                  </a:lnTo>
                  <a:lnTo>
                    <a:pt x="10186" y="14407"/>
                  </a:lnTo>
                  <a:lnTo>
                    <a:pt x="0" y="24593"/>
                  </a:lnTo>
                  <a:lnTo>
                    <a:pt x="19500" y="4409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686;p10"/>
            <p:cNvSpPr/>
            <p:nvPr/>
          </p:nvSpPr>
          <p:spPr>
            <a:xfrm>
              <a:off x="5307820" y="1890690"/>
              <a:ext cx="129667" cy="172877"/>
            </a:xfrm>
            <a:custGeom>
              <a:avLst/>
              <a:gdLst/>
              <a:ahLst/>
              <a:cxnLst/>
              <a:rect l="l" t="t" r="r" b="b"/>
              <a:pathLst>
                <a:path w="129667" h="172877" extrusionOk="0">
                  <a:moveTo>
                    <a:pt x="64835" y="172878"/>
                  </a:moveTo>
                  <a:cubicBezTo>
                    <a:pt x="80726" y="172878"/>
                    <a:pt x="93650" y="159954"/>
                    <a:pt x="93650" y="144063"/>
                  </a:cubicBezTo>
                  <a:lnTo>
                    <a:pt x="93650" y="131154"/>
                  </a:lnTo>
                  <a:cubicBezTo>
                    <a:pt x="93650" y="126335"/>
                    <a:pt x="96027" y="121811"/>
                    <a:pt x="99859" y="119348"/>
                  </a:cubicBezTo>
                  <a:cubicBezTo>
                    <a:pt x="118524" y="107346"/>
                    <a:pt x="129668" y="86967"/>
                    <a:pt x="129668" y="64823"/>
                  </a:cubicBezTo>
                  <a:cubicBezTo>
                    <a:pt x="129668" y="46382"/>
                    <a:pt x="121773" y="28755"/>
                    <a:pt x="108014" y="16465"/>
                  </a:cubicBezTo>
                  <a:cubicBezTo>
                    <a:pt x="94269" y="4176"/>
                    <a:pt x="75799" y="-1673"/>
                    <a:pt x="57307" y="416"/>
                  </a:cubicBezTo>
                  <a:cubicBezTo>
                    <a:pt x="28118" y="3722"/>
                    <a:pt x="4253" y="27235"/>
                    <a:pt x="543" y="56338"/>
                  </a:cubicBezTo>
                  <a:cubicBezTo>
                    <a:pt x="-2677" y="81608"/>
                    <a:pt x="8596" y="105790"/>
                    <a:pt x="29970" y="119448"/>
                  </a:cubicBezTo>
                  <a:cubicBezTo>
                    <a:pt x="33701" y="121840"/>
                    <a:pt x="36021" y="126436"/>
                    <a:pt x="36021" y="131457"/>
                  </a:cubicBezTo>
                  <a:lnTo>
                    <a:pt x="36021" y="144063"/>
                  </a:lnTo>
                  <a:cubicBezTo>
                    <a:pt x="36021" y="159954"/>
                    <a:pt x="48944" y="172878"/>
                    <a:pt x="64835" y="172878"/>
                  </a:cubicBezTo>
                  <a:close/>
                  <a:moveTo>
                    <a:pt x="64835" y="158471"/>
                  </a:moveTo>
                  <a:cubicBezTo>
                    <a:pt x="56889" y="158471"/>
                    <a:pt x="50428" y="152009"/>
                    <a:pt x="50428" y="144063"/>
                  </a:cubicBezTo>
                  <a:lnTo>
                    <a:pt x="79242" y="144063"/>
                  </a:lnTo>
                  <a:cubicBezTo>
                    <a:pt x="79242" y="152009"/>
                    <a:pt x="72781" y="158471"/>
                    <a:pt x="64835" y="158471"/>
                  </a:cubicBezTo>
                  <a:close/>
                  <a:moveTo>
                    <a:pt x="57631" y="64823"/>
                  </a:moveTo>
                  <a:cubicBezTo>
                    <a:pt x="57631" y="60854"/>
                    <a:pt x="60859" y="57620"/>
                    <a:pt x="64835" y="57620"/>
                  </a:cubicBezTo>
                  <a:cubicBezTo>
                    <a:pt x="68811" y="57620"/>
                    <a:pt x="72039" y="60854"/>
                    <a:pt x="72039" y="64823"/>
                  </a:cubicBezTo>
                  <a:cubicBezTo>
                    <a:pt x="72039" y="68793"/>
                    <a:pt x="68811" y="72027"/>
                    <a:pt x="64835" y="72027"/>
                  </a:cubicBezTo>
                  <a:cubicBezTo>
                    <a:pt x="60859" y="72027"/>
                    <a:pt x="57631" y="68793"/>
                    <a:pt x="57631" y="64823"/>
                  </a:cubicBezTo>
                  <a:close/>
                  <a:moveTo>
                    <a:pt x="14842" y="58160"/>
                  </a:moveTo>
                  <a:cubicBezTo>
                    <a:pt x="17716" y="35562"/>
                    <a:pt x="36265" y="17294"/>
                    <a:pt x="58928" y="14729"/>
                  </a:cubicBezTo>
                  <a:cubicBezTo>
                    <a:pt x="60931" y="14506"/>
                    <a:pt x="62919" y="14398"/>
                    <a:pt x="64893" y="14398"/>
                  </a:cubicBezTo>
                  <a:cubicBezTo>
                    <a:pt x="77326" y="14398"/>
                    <a:pt x="89054" y="18843"/>
                    <a:pt x="98418" y="27206"/>
                  </a:cubicBezTo>
                  <a:cubicBezTo>
                    <a:pt x="109116" y="36765"/>
                    <a:pt x="115260" y="50481"/>
                    <a:pt x="115260" y="64823"/>
                  </a:cubicBezTo>
                  <a:cubicBezTo>
                    <a:pt x="115260" y="82040"/>
                    <a:pt x="106594" y="97895"/>
                    <a:pt x="92072" y="107231"/>
                  </a:cubicBezTo>
                  <a:cubicBezTo>
                    <a:pt x="84451" y="112122"/>
                    <a:pt x="79797" y="120428"/>
                    <a:pt x="79336" y="129656"/>
                  </a:cubicBezTo>
                  <a:lnTo>
                    <a:pt x="72039" y="129656"/>
                  </a:lnTo>
                  <a:lnTo>
                    <a:pt x="72039" y="85109"/>
                  </a:lnTo>
                  <a:cubicBezTo>
                    <a:pt x="80402" y="82127"/>
                    <a:pt x="86446" y="74203"/>
                    <a:pt x="86446" y="64823"/>
                  </a:cubicBezTo>
                  <a:cubicBezTo>
                    <a:pt x="86446" y="52909"/>
                    <a:pt x="76750" y="43213"/>
                    <a:pt x="64835" y="43213"/>
                  </a:cubicBezTo>
                  <a:cubicBezTo>
                    <a:pt x="52920" y="43213"/>
                    <a:pt x="43224" y="52909"/>
                    <a:pt x="43224" y="64823"/>
                  </a:cubicBezTo>
                  <a:cubicBezTo>
                    <a:pt x="43224" y="74203"/>
                    <a:pt x="49268" y="82127"/>
                    <a:pt x="57631" y="85109"/>
                  </a:cubicBezTo>
                  <a:lnTo>
                    <a:pt x="57631" y="129656"/>
                  </a:lnTo>
                  <a:lnTo>
                    <a:pt x="50320" y="129656"/>
                  </a:lnTo>
                  <a:cubicBezTo>
                    <a:pt x="49787" y="120349"/>
                    <a:pt x="45198" y="112079"/>
                    <a:pt x="37721" y="107310"/>
                  </a:cubicBezTo>
                  <a:cubicBezTo>
                    <a:pt x="21102" y="96685"/>
                    <a:pt x="12328" y="77855"/>
                    <a:pt x="14842" y="5816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687;p10"/>
            <p:cNvSpPr/>
            <p:nvPr/>
          </p:nvSpPr>
          <p:spPr>
            <a:xfrm>
              <a:off x="5595967" y="1890681"/>
              <a:ext cx="158479" cy="158479"/>
            </a:xfrm>
            <a:custGeom>
              <a:avLst/>
              <a:gdLst/>
              <a:ahLst/>
              <a:cxnLst/>
              <a:rect l="l" t="t" r="r" b="b"/>
              <a:pathLst>
                <a:path w="158479" h="158479" extrusionOk="0">
                  <a:moveTo>
                    <a:pt x="158480" y="59639"/>
                  </a:moveTo>
                  <a:lnTo>
                    <a:pt x="140795" y="53739"/>
                  </a:lnTo>
                  <a:lnTo>
                    <a:pt x="149129" y="37070"/>
                  </a:lnTo>
                  <a:lnTo>
                    <a:pt x="121410" y="9350"/>
                  </a:lnTo>
                  <a:lnTo>
                    <a:pt x="104734" y="17692"/>
                  </a:lnTo>
                  <a:lnTo>
                    <a:pt x="98841" y="0"/>
                  </a:lnTo>
                  <a:lnTo>
                    <a:pt x="59646" y="0"/>
                  </a:lnTo>
                  <a:lnTo>
                    <a:pt x="53753" y="17692"/>
                  </a:lnTo>
                  <a:lnTo>
                    <a:pt x="37077" y="9350"/>
                  </a:lnTo>
                  <a:lnTo>
                    <a:pt x="9358" y="37070"/>
                  </a:lnTo>
                  <a:lnTo>
                    <a:pt x="17692" y="53739"/>
                  </a:lnTo>
                  <a:lnTo>
                    <a:pt x="0" y="59639"/>
                  </a:lnTo>
                  <a:lnTo>
                    <a:pt x="0" y="98834"/>
                  </a:lnTo>
                  <a:lnTo>
                    <a:pt x="17685" y="104734"/>
                  </a:lnTo>
                  <a:lnTo>
                    <a:pt x="9350" y="121403"/>
                  </a:lnTo>
                  <a:lnTo>
                    <a:pt x="37070" y="149122"/>
                  </a:lnTo>
                  <a:lnTo>
                    <a:pt x="53746" y="140780"/>
                  </a:lnTo>
                  <a:lnTo>
                    <a:pt x="59639" y="158480"/>
                  </a:lnTo>
                  <a:lnTo>
                    <a:pt x="98834" y="158480"/>
                  </a:lnTo>
                  <a:lnTo>
                    <a:pt x="104726" y="140788"/>
                  </a:lnTo>
                  <a:lnTo>
                    <a:pt x="121403" y="149129"/>
                  </a:lnTo>
                  <a:lnTo>
                    <a:pt x="149122" y="121410"/>
                  </a:lnTo>
                  <a:lnTo>
                    <a:pt x="140788" y="104741"/>
                  </a:lnTo>
                  <a:lnTo>
                    <a:pt x="158480" y="98841"/>
                  </a:lnTo>
                  <a:close/>
                  <a:moveTo>
                    <a:pt x="144073" y="88453"/>
                  </a:moveTo>
                  <a:lnTo>
                    <a:pt x="127547" y="93964"/>
                  </a:lnTo>
                  <a:lnTo>
                    <a:pt x="126330" y="97141"/>
                  </a:lnTo>
                  <a:cubicBezTo>
                    <a:pt x="125970" y="98063"/>
                    <a:pt x="125610" y="98978"/>
                    <a:pt x="125213" y="99871"/>
                  </a:cubicBezTo>
                  <a:lnTo>
                    <a:pt x="123816" y="102990"/>
                  </a:lnTo>
                  <a:lnTo>
                    <a:pt x="131603" y="118564"/>
                  </a:lnTo>
                  <a:lnTo>
                    <a:pt x="118572" y="131596"/>
                  </a:lnTo>
                  <a:lnTo>
                    <a:pt x="102997" y="123809"/>
                  </a:lnTo>
                  <a:lnTo>
                    <a:pt x="99878" y="125206"/>
                  </a:lnTo>
                  <a:cubicBezTo>
                    <a:pt x="98992" y="125602"/>
                    <a:pt x="98092" y="125963"/>
                    <a:pt x="97177" y="126308"/>
                  </a:cubicBezTo>
                  <a:lnTo>
                    <a:pt x="93971" y="127519"/>
                  </a:lnTo>
                  <a:lnTo>
                    <a:pt x="88453" y="144073"/>
                  </a:lnTo>
                  <a:lnTo>
                    <a:pt x="70019" y="144073"/>
                  </a:lnTo>
                  <a:lnTo>
                    <a:pt x="64501" y="127519"/>
                  </a:lnTo>
                  <a:lnTo>
                    <a:pt x="61296" y="126308"/>
                  </a:lnTo>
                  <a:cubicBezTo>
                    <a:pt x="60381" y="125963"/>
                    <a:pt x="59480" y="125602"/>
                    <a:pt x="58594" y="125206"/>
                  </a:cubicBezTo>
                  <a:lnTo>
                    <a:pt x="55475" y="123809"/>
                  </a:lnTo>
                  <a:lnTo>
                    <a:pt x="39901" y="131596"/>
                  </a:lnTo>
                  <a:lnTo>
                    <a:pt x="26870" y="118564"/>
                  </a:lnTo>
                  <a:lnTo>
                    <a:pt x="34657" y="102990"/>
                  </a:lnTo>
                  <a:lnTo>
                    <a:pt x="33259" y="99871"/>
                  </a:lnTo>
                  <a:cubicBezTo>
                    <a:pt x="32856" y="98971"/>
                    <a:pt x="32503" y="98063"/>
                    <a:pt x="32143" y="97141"/>
                  </a:cubicBezTo>
                  <a:lnTo>
                    <a:pt x="30925" y="93964"/>
                  </a:lnTo>
                  <a:lnTo>
                    <a:pt x="14407" y="88453"/>
                  </a:lnTo>
                  <a:lnTo>
                    <a:pt x="14407" y="70019"/>
                  </a:lnTo>
                  <a:lnTo>
                    <a:pt x="30932" y="64508"/>
                  </a:lnTo>
                  <a:lnTo>
                    <a:pt x="32150" y="61332"/>
                  </a:lnTo>
                  <a:cubicBezTo>
                    <a:pt x="32510" y="60410"/>
                    <a:pt x="32870" y="59495"/>
                    <a:pt x="33266" y="58601"/>
                  </a:cubicBezTo>
                  <a:lnTo>
                    <a:pt x="34664" y="55482"/>
                  </a:lnTo>
                  <a:lnTo>
                    <a:pt x="26877" y="39908"/>
                  </a:lnTo>
                  <a:lnTo>
                    <a:pt x="39908" y="26877"/>
                  </a:lnTo>
                  <a:lnTo>
                    <a:pt x="55482" y="34664"/>
                  </a:lnTo>
                  <a:lnTo>
                    <a:pt x="58601" y="33266"/>
                  </a:lnTo>
                  <a:cubicBezTo>
                    <a:pt x="59488" y="32870"/>
                    <a:pt x="60388" y="32510"/>
                    <a:pt x="61303" y="32164"/>
                  </a:cubicBezTo>
                  <a:lnTo>
                    <a:pt x="64508" y="30954"/>
                  </a:lnTo>
                  <a:lnTo>
                    <a:pt x="70026" y="14407"/>
                  </a:lnTo>
                  <a:lnTo>
                    <a:pt x="88461" y="14407"/>
                  </a:lnTo>
                  <a:lnTo>
                    <a:pt x="93979" y="30961"/>
                  </a:lnTo>
                  <a:lnTo>
                    <a:pt x="97184" y="32171"/>
                  </a:lnTo>
                  <a:cubicBezTo>
                    <a:pt x="98099" y="32517"/>
                    <a:pt x="98999" y="32877"/>
                    <a:pt x="99885" y="33274"/>
                  </a:cubicBezTo>
                  <a:lnTo>
                    <a:pt x="103005" y="34671"/>
                  </a:lnTo>
                  <a:lnTo>
                    <a:pt x="118579" y="26884"/>
                  </a:lnTo>
                  <a:lnTo>
                    <a:pt x="131610" y="39915"/>
                  </a:lnTo>
                  <a:lnTo>
                    <a:pt x="123823" y="55490"/>
                  </a:lnTo>
                  <a:lnTo>
                    <a:pt x="125221" y="58609"/>
                  </a:lnTo>
                  <a:cubicBezTo>
                    <a:pt x="125624" y="59509"/>
                    <a:pt x="125977" y="60417"/>
                    <a:pt x="126337" y="61339"/>
                  </a:cubicBezTo>
                  <a:lnTo>
                    <a:pt x="127555" y="64516"/>
                  </a:lnTo>
                  <a:lnTo>
                    <a:pt x="144073" y="7002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688;p10"/>
            <p:cNvSpPr/>
            <p:nvPr/>
          </p:nvSpPr>
          <p:spPr>
            <a:xfrm>
              <a:off x="5639189" y="1933903"/>
              <a:ext cx="72036" cy="72036"/>
            </a:xfrm>
            <a:custGeom>
              <a:avLst/>
              <a:gdLst/>
              <a:ahLst/>
              <a:cxnLst/>
              <a:rect l="l" t="t" r="r" b="b"/>
              <a:pathLst>
                <a:path w="72036" h="72036" extrusionOk="0">
                  <a:moveTo>
                    <a:pt x="36018" y="0"/>
                  </a:moveTo>
                  <a:cubicBezTo>
                    <a:pt x="16158" y="0"/>
                    <a:pt x="0" y="16158"/>
                    <a:pt x="0" y="36018"/>
                  </a:cubicBezTo>
                  <a:cubicBezTo>
                    <a:pt x="0" y="55879"/>
                    <a:pt x="16158" y="72036"/>
                    <a:pt x="36018" y="72036"/>
                  </a:cubicBezTo>
                  <a:cubicBezTo>
                    <a:pt x="55879" y="72036"/>
                    <a:pt x="72036" y="55879"/>
                    <a:pt x="72036" y="36018"/>
                  </a:cubicBezTo>
                  <a:cubicBezTo>
                    <a:pt x="72036" y="16158"/>
                    <a:pt x="55879" y="0"/>
                    <a:pt x="36018" y="0"/>
                  </a:cubicBezTo>
                  <a:close/>
                  <a:moveTo>
                    <a:pt x="36018" y="57629"/>
                  </a:moveTo>
                  <a:cubicBezTo>
                    <a:pt x="24103" y="57629"/>
                    <a:pt x="14407" y="47933"/>
                    <a:pt x="14407" y="36018"/>
                  </a:cubicBezTo>
                  <a:cubicBezTo>
                    <a:pt x="14407" y="24103"/>
                    <a:pt x="24103" y="14407"/>
                    <a:pt x="36018" y="14407"/>
                  </a:cubicBezTo>
                  <a:cubicBezTo>
                    <a:pt x="47933" y="14407"/>
                    <a:pt x="57629" y="24103"/>
                    <a:pt x="57629" y="36018"/>
                  </a:cubicBezTo>
                  <a:cubicBezTo>
                    <a:pt x="57629" y="47933"/>
                    <a:pt x="47933" y="57629"/>
                    <a:pt x="36018" y="576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89" name="Google Shape;689;p10"/>
          <p:cNvGrpSpPr/>
          <p:nvPr/>
        </p:nvGrpSpPr>
        <p:grpSpPr>
          <a:xfrm>
            <a:off x="2310955" y="1396593"/>
            <a:ext cx="746623" cy="753056"/>
            <a:chOff x="2306021" y="1143000"/>
            <a:chExt cx="4531948" cy="4571001"/>
          </a:xfrm>
        </p:grpSpPr>
        <p:sp>
          <p:nvSpPr>
            <p:cNvPr id="690" name="Google Shape;690;p10"/>
            <p:cNvSpPr/>
            <p:nvPr/>
          </p:nvSpPr>
          <p:spPr>
            <a:xfrm>
              <a:off x="2306021" y="1980201"/>
              <a:ext cx="3228975" cy="3733800"/>
            </a:xfrm>
            <a:custGeom>
              <a:avLst/>
              <a:gdLst/>
              <a:ahLst/>
              <a:cxnLst/>
              <a:rect l="l" t="t" r="r" b="b"/>
              <a:pathLst>
                <a:path w="3228975" h="3733800" extrusionOk="0">
                  <a:moveTo>
                    <a:pt x="3160349" y="2820399"/>
                  </a:moveTo>
                  <a:lnTo>
                    <a:pt x="2474549" y="2820399"/>
                  </a:lnTo>
                  <a:lnTo>
                    <a:pt x="2474549" y="2210799"/>
                  </a:lnTo>
                  <a:cubicBezTo>
                    <a:pt x="2474549" y="2000382"/>
                    <a:pt x="2303965" y="1829799"/>
                    <a:pt x="2093548" y="1829799"/>
                  </a:cubicBezTo>
                  <a:lnTo>
                    <a:pt x="1636348" y="1829799"/>
                  </a:lnTo>
                  <a:lnTo>
                    <a:pt x="1636348" y="1411461"/>
                  </a:lnTo>
                  <a:lnTo>
                    <a:pt x="2671144" y="672321"/>
                  </a:lnTo>
                  <a:cubicBezTo>
                    <a:pt x="2687908" y="660453"/>
                    <a:pt x="2699177" y="642317"/>
                    <a:pt x="2702386" y="622029"/>
                  </a:cubicBezTo>
                  <a:cubicBezTo>
                    <a:pt x="2705425" y="601807"/>
                    <a:pt x="2700205" y="581214"/>
                    <a:pt x="2687908" y="564879"/>
                  </a:cubicBezTo>
                  <a:lnTo>
                    <a:pt x="2459308" y="260079"/>
                  </a:lnTo>
                  <a:cubicBezTo>
                    <a:pt x="2434677" y="227332"/>
                    <a:pt x="2388557" y="219922"/>
                    <a:pt x="2354915" y="243315"/>
                  </a:cubicBezTo>
                  <a:lnTo>
                    <a:pt x="1573865" y="783573"/>
                  </a:lnTo>
                  <a:cubicBezTo>
                    <a:pt x="1711977" y="523369"/>
                    <a:pt x="1612993" y="200462"/>
                    <a:pt x="1352789" y="62359"/>
                  </a:cubicBezTo>
                  <a:cubicBezTo>
                    <a:pt x="1092585" y="-75753"/>
                    <a:pt x="769678" y="23230"/>
                    <a:pt x="631575" y="283434"/>
                  </a:cubicBezTo>
                  <a:cubicBezTo>
                    <a:pt x="520523" y="492651"/>
                    <a:pt x="560747" y="750036"/>
                    <a:pt x="730330" y="915399"/>
                  </a:cubicBezTo>
                  <a:lnTo>
                    <a:pt x="645748" y="915399"/>
                  </a:lnTo>
                  <a:cubicBezTo>
                    <a:pt x="624250" y="915447"/>
                    <a:pt x="603762" y="924581"/>
                    <a:pt x="589360" y="940545"/>
                  </a:cubicBezTo>
                  <a:lnTo>
                    <a:pt x="97108" y="1487661"/>
                  </a:lnTo>
                  <a:cubicBezTo>
                    <a:pt x="-38042" y="1638661"/>
                    <a:pt x="-31346" y="1869023"/>
                    <a:pt x="112348" y="2011917"/>
                  </a:cubicBezTo>
                  <a:lnTo>
                    <a:pt x="515446" y="2417301"/>
                  </a:lnTo>
                  <a:cubicBezTo>
                    <a:pt x="531287" y="2433160"/>
                    <a:pt x="553308" y="2441247"/>
                    <a:pt x="575644" y="2439399"/>
                  </a:cubicBezTo>
                  <a:cubicBezTo>
                    <a:pt x="598266" y="2437656"/>
                    <a:pt x="618936" y="2425931"/>
                    <a:pt x="632032" y="2407395"/>
                  </a:cubicBezTo>
                  <a:lnTo>
                    <a:pt x="721948" y="2280141"/>
                  </a:lnTo>
                  <a:lnTo>
                    <a:pt x="721948" y="3658599"/>
                  </a:lnTo>
                  <a:cubicBezTo>
                    <a:pt x="721948" y="3700681"/>
                    <a:pt x="756067" y="3734799"/>
                    <a:pt x="798148" y="3734799"/>
                  </a:cubicBezTo>
                  <a:lnTo>
                    <a:pt x="1255348" y="3734799"/>
                  </a:lnTo>
                  <a:cubicBezTo>
                    <a:pt x="1297430" y="3734799"/>
                    <a:pt x="1331548" y="3700681"/>
                    <a:pt x="1331548" y="3658599"/>
                  </a:cubicBezTo>
                  <a:lnTo>
                    <a:pt x="1331548" y="2439399"/>
                  </a:lnTo>
                  <a:lnTo>
                    <a:pt x="1864948" y="2439399"/>
                  </a:lnTo>
                  <a:lnTo>
                    <a:pt x="1864948" y="2820399"/>
                  </a:lnTo>
                  <a:lnTo>
                    <a:pt x="1636348" y="2820399"/>
                  </a:lnTo>
                  <a:cubicBezTo>
                    <a:pt x="1594267" y="2820399"/>
                    <a:pt x="1560148" y="2854518"/>
                    <a:pt x="1560148" y="2896599"/>
                  </a:cubicBezTo>
                  <a:lnTo>
                    <a:pt x="1560148" y="3658599"/>
                  </a:lnTo>
                  <a:cubicBezTo>
                    <a:pt x="1560148" y="3700681"/>
                    <a:pt x="1594267" y="3734799"/>
                    <a:pt x="1636348" y="3734799"/>
                  </a:cubicBezTo>
                  <a:lnTo>
                    <a:pt x="3160349" y="3734799"/>
                  </a:lnTo>
                  <a:cubicBezTo>
                    <a:pt x="3202430" y="3734799"/>
                    <a:pt x="3236549" y="3700681"/>
                    <a:pt x="3236549" y="3658599"/>
                  </a:cubicBezTo>
                  <a:lnTo>
                    <a:pt x="3236549" y="2896599"/>
                  </a:lnTo>
                  <a:cubicBezTo>
                    <a:pt x="3236549" y="2854518"/>
                    <a:pt x="3202440" y="2820399"/>
                    <a:pt x="3160349" y="2820399"/>
                  </a:cubicBezTo>
                  <a:close/>
                  <a:moveTo>
                    <a:pt x="721948" y="534399"/>
                  </a:moveTo>
                  <a:cubicBezTo>
                    <a:pt x="721948" y="323982"/>
                    <a:pt x="892532" y="153399"/>
                    <a:pt x="1102948" y="153399"/>
                  </a:cubicBezTo>
                  <a:cubicBezTo>
                    <a:pt x="1313365" y="153399"/>
                    <a:pt x="1483948" y="323982"/>
                    <a:pt x="1483948" y="534399"/>
                  </a:cubicBezTo>
                  <a:cubicBezTo>
                    <a:pt x="1483948" y="744816"/>
                    <a:pt x="1313365" y="915399"/>
                    <a:pt x="1102948" y="915399"/>
                  </a:cubicBezTo>
                  <a:cubicBezTo>
                    <a:pt x="892532" y="915399"/>
                    <a:pt x="721948" y="744816"/>
                    <a:pt x="721948" y="534399"/>
                  </a:cubicBezTo>
                  <a:close/>
                  <a:moveTo>
                    <a:pt x="1284304" y="1067799"/>
                  </a:moveTo>
                  <a:lnTo>
                    <a:pt x="1179148" y="1278111"/>
                  </a:lnTo>
                  <a:lnTo>
                    <a:pt x="1073992" y="1067799"/>
                  </a:lnTo>
                  <a:lnTo>
                    <a:pt x="1284304" y="1067799"/>
                  </a:lnTo>
                  <a:close/>
                  <a:moveTo>
                    <a:pt x="721948" y="1883901"/>
                  </a:moveTo>
                  <a:lnTo>
                    <a:pt x="600028" y="1753599"/>
                  </a:lnTo>
                  <a:lnTo>
                    <a:pt x="721948" y="1631679"/>
                  </a:lnTo>
                  <a:lnTo>
                    <a:pt x="721948" y="1883901"/>
                  </a:lnTo>
                  <a:close/>
                  <a:moveTo>
                    <a:pt x="1255348" y="2286999"/>
                  </a:moveTo>
                  <a:cubicBezTo>
                    <a:pt x="1213267" y="2286999"/>
                    <a:pt x="1179148" y="2321118"/>
                    <a:pt x="1179148" y="2363199"/>
                  </a:cubicBezTo>
                  <a:lnTo>
                    <a:pt x="1179148" y="3582399"/>
                  </a:lnTo>
                  <a:lnTo>
                    <a:pt x="874348" y="3582399"/>
                  </a:lnTo>
                  <a:lnTo>
                    <a:pt x="874348" y="1448799"/>
                  </a:lnTo>
                  <a:cubicBezTo>
                    <a:pt x="874196" y="1418033"/>
                    <a:pt x="855556" y="1390382"/>
                    <a:pt x="827104" y="1378695"/>
                  </a:cubicBezTo>
                  <a:cubicBezTo>
                    <a:pt x="798729" y="1366760"/>
                    <a:pt x="765963" y="1373075"/>
                    <a:pt x="744046" y="1394697"/>
                  </a:cubicBezTo>
                  <a:lnTo>
                    <a:pt x="439246" y="1699497"/>
                  </a:lnTo>
                  <a:cubicBezTo>
                    <a:pt x="410205" y="1729129"/>
                    <a:pt x="410205" y="1776545"/>
                    <a:pt x="439246" y="1806177"/>
                  </a:cubicBezTo>
                  <a:lnTo>
                    <a:pt x="688420" y="2066019"/>
                  </a:lnTo>
                  <a:lnTo>
                    <a:pt x="559642" y="2245851"/>
                  </a:lnTo>
                  <a:lnTo>
                    <a:pt x="218266" y="1905999"/>
                  </a:lnTo>
                  <a:cubicBezTo>
                    <a:pt x="131217" y="1819855"/>
                    <a:pt x="127522" y="1680409"/>
                    <a:pt x="209884" y="1589769"/>
                  </a:cubicBezTo>
                  <a:lnTo>
                    <a:pt x="680038" y="1067799"/>
                  </a:lnTo>
                  <a:lnTo>
                    <a:pt x="903304" y="1067799"/>
                  </a:lnTo>
                  <a:lnTo>
                    <a:pt x="1111330" y="1483089"/>
                  </a:lnTo>
                  <a:cubicBezTo>
                    <a:pt x="1130523" y="1520541"/>
                    <a:pt x="1176434" y="1535353"/>
                    <a:pt x="1213896" y="1516160"/>
                  </a:cubicBezTo>
                  <a:cubicBezTo>
                    <a:pt x="1228116" y="1508873"/>
                    <a:pt x="1239689" y="1497310"/>
                    <a:pt x="1246966" y="1483089"/>
                  </a:cubicBezTo>
                  <a:lnTo>
                    <a:pt x="1467184" y="1043415"/>
                  </a:lnTo>
                  <a:lnTo>
                    <a:pt x="2381584" y="410193"/>
                  </a:lnTo>
                  <a:lnTo>
                    <a:pt x="2519507" y="593835"/>
                  </a:lnTo>
                  <a:lnTo>
                    <a:pt x="1515952" y="1310877"/>
                  </a:lnTo>
                  <a:cubicBezTo>
                    <a:pt x="1495969" y="1325098"/>
                    <a:pt x="1484063" y="1348072"/>
                    <a:pt x="1483948" y="1372599"/>
                  </a:cubicBezTo>
                  <a:lnTo>
                    <a:pt x="1483948" y="1905999"/>
                  </a:lnTo>
                  <a:cubicBezTo>
                    <a:pt x="1483948" y="1948081"/>
                    <a:pt x="1518067" y="1982199"/>
                    <a:pt x="1560148" y="1982199"/>
                  </a:cubicBezTo>
                  <a:lnTo>
                    <a:pt x="2093548" y="1982199"/>
                  </a:lnTo>
                  <a:cubicBezTo>
                    <a:pt x="2219802" y="1982199"/>
                    <a:pt x="2322149" y="2084545"/>
                    <a:pt x="2322149" y="2210799"/>
                  </a:cubicBezTo>
                  <a:lnTo>
                    <a:pt x="2322149" y="2820399"/>
                  </a:lnTo>
                  <a:lnTo>
                    <a:pt x="2017348" y="2820399"/>
                  </a:lnTo>
                  <a:lnTo>
                    <a:pt x="2017348" y="2363199"/>
                  </a:lnTo>
                  <a:cubicBezTo>
                    <a:pt x="2017348" y="2321118"/>
                    <a:pt x="1983230" y="2286999"/>
                    <a:pt x="1941148" y="2286999"/>
                  </a:cubicBezTo>
                  <a:lnTo>
                    <a:pt x="1255348" y="2286999"/>
                  </a:lnTo>
                  <a:close/>
                  <a:moveTo>
                    <a:pt x="3084149" y="3582399"/>
                  </a:moveTo>
                  <a:lnTo>
                    <a:pt x="1712548" y="3582399"/>
                  </a:lnTo>
                  <a:lnTo>
                    <a:pt x="1712548" y="2972799"/>
                  </a:lnTo>
                  <a:lnTo>
                    <a:pt x="3084149" y="2972799"/>
                  </a:lnTo>
                  <a:lnTo>
                    <a:pt x="3084149" y="358239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691;p10"/>
            <p:cNvSpPr/>
            <p:nvPr/>
          </p:nvSpPr>
          <p:spPr>
            <a:xfrm>
              <a:off x="5466369" y="11430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1295400" y="609600"/>
                  </a:moveTo>
                  <a:cubicBezTo>
                    <a:pt x="1000811" y="609600"/>
                    <a:pt x="762000" y="370789"/>
                    <a:pt x="762000" y="76200"/>
                  </a:cubicBezTo>
                  <a:cubicBezTo>
                    <a:pt x="762000" y="34119"/>
                    <a:pt x="727881" y="0"/>
                    <a:pt x="685800" y="0"/>
                  </a:cubicBezTo>
                  <a:cubicBezTo>
                    <a:pt x="643719" y="0"/>
                    <a:pt x="609600" y="34119"/>
                    <a:pt x="609600" y="76200"/>
                  </a:cubicBezTo>
                  <a:cubicBezTo>
                    <a:pt x="609600" y="370789"/>
                    <a:pt x="370789" y="609600"/>
                    <a:pt x="76200" y="609600"/>
                  </a:cubicBezTo>
                  <a:cubicBezTo>
                    <a:pt x="34119" y="609600"/>
                    <a:pt x="0" y="643719"/>
                    <a:pt x="0" y="685800"/>
                  </a:cubicBezTo>
                  <a:cubicBezTo>
                    <a:pt x="0" y="727881"/>
                    <a:pt x="34119" y="762000"/>
                    <a:pt x="76200" y="762000"/>
                  </a:cubicBezTo>
                  <a:cubicBezTo>
                    <a:pt x="370789" y="762000"/>
                    <a:pt x="609600" y="1000811"/>
                    <a:pt x="609600" y="1295400"/>
                  </a:cubicBezTo>
                  <a:cubicBezTo>
                    <a:pt x="609600" y="1337482"/>
                    <a:pt x="643719" y="1371600"/>
                    <a:pt x="685800" y="1371600"/>
                  </a:cubicBezTo>
                  <a:cubicBezTo>
                    <a:pt x="727881" y="1371600"/>
                    <a:pt x="762000" y="1337482"/>
                    <a:pt x="762000" y="1295400"/>
                  </a:cubicBezTo>
                  <a:cubicBezTo>
                    <a:pt x="762000" y="1000811"/>
                    <a:pt x="1000811" y="762000"/>
                    <a:pt x="1295400" y="762000"/>
                  </a:cubicBezTo>
                  <a:cubicBezTo>
                    <a:pt x="1337482" y="762000"/>
                    <a:pt x="1371600" y="727881"/>
                    <a:pt x="1371600" y="685800"/>
                  </a:cubicBezTo>
                  <a:cubicBezTo>
                    <a:pt x="1371600" y="643719"/>
                    <a:pt x="1337491" y="609600"/>
                    <a:pt x="1295400" y="609600"/>
                  </a:cubicBezTo>
                  <a:close/>
                  <a:moveTo>
                    <a:pt x="685800" y="981456"/>
                  </a:moveTo>
                  <a:cubicBezTo>
                    <a:pt x="620106" y="854774"/>
                    <a:pt x="516836" y="751504"/>
                    <a:pt x="390144" y="685800"/>
                  </a:cubicBezTo>
                  <a:cubicBezTo>
                    <a:pt x="516827" y="620097"/>
                    <a:pt x="620096" y="516826"/>
                    <a:pt x="685800" y="390144"/>
                  </a:cubicBezTo>
                  <a:cubicBezTo>
                    <a:pt x="751504" y="516826"/>
                    <a:pt x="854773" y="620097"/>
                    <a:pt x="981456" y="685800"/>
                  </a:cubicBezTo>
                  <a:cubicBezTo>
                    <a:pt x="854773" y="751504"/>
                    <a:pt x="751504" y="854774"/>
                    <a:pt x="685800" y="98145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692;p10"/>
            <p:cNvSpPr/>
            <p:nvPr/>
          </p:nvSpPr>
          <p:spPr>
            <a:xfrm>
              <a:off x="4659249" y="3062597"/>
              <a:ext cx="295275" cy="266700"/>
            </a:xfrm>
            <a:custGeom>
              <a:avLst/>
              <a:gdLst/>
              <a:ahLst/>
              <a:cxnLst/>
              <a:rect l="l" t="t" r="r" b="b"/>
              <a:pathLst>
                <a:path w="295275" h="266700" extrusionOk="0">
                  <a:moveTo>
                    <a:pt x="0" y="152293"/>
                  </a:moveTo>
                  <a:lnTo>
                    <a:pt x="207693" y="0"/>
                  </a:lnTo>
                  <a:lnTo>
                    <a:pt x="297807" y="122895"/>
                  </a:lnTo>
                  <a:lnTo>
                    <a:pt x="90114" y="27518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693;p10"/>
            <p:cNvSpPr/>
            <p:nvPr/>
          </p:nvSpPr>
          <p:spPr>
            <a:xfrm>
              <a:off x="5040756" y="2376843"/>
              <a:ext cx="847725" cy="676275"/>
            </a:xfrm>
            <a:custGeom>
              <a:avLst/>
              <a:gdLst/>
              <a:ahLst/>
              <a:cxnLst/>
              <a:rect l="l" t="t" r="r" b="b"/>
              <a:pathLst>
                <a:path w="847725" h="676275" extrusionOk="0">
                  <a:moveTo>
                    <a:pt x="0" y="558991"/>
                  </a:moveTo>
                  <a:lnTo>
                    <a:pt x="761762" y="0"/>
                  </a:lnTo>
                  <a:lnTo>
                    <a:pt x="851922" y="122865"/>
                  </a:lnTo>
                  <a:lnTo>
                    <a:pt x="90160" y="68185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694;p10"/>
            <p:cNvSpPr/>
            <p:nvPr/>
          </p:nvSpPr>
          <p:spPr>
            <a:xfrm>
              <a:off x="5042786" y="1993827"/>
              <a:ext cx="533400" cy="428625"/>
            </a:xfrm>
            <a:custGeom>
              <a:avLst/>
              <a:gdLst/>
              <a:ahLst/>
              <a:cxnLst/>
              <a:rect l="l" t="t" r="r" b="b"/>
              <a:pathLst>
                <a:path w="533400" h="428625" extrusionOk="0">
                  <a:moveTo>
                    <a:pt x="0" y="304753"/>
                  </a:moveTo>
                  <a:lnTo>
                    <a:pt x="457102" y="0"/>
                  </a:lnTo>
                  <a:lnTo>
                    <a:pt x="541639" y="126797"/>
                  </a:lnTo>
                  <a:lnTo>
                    <a:pt x="84536" y="43155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392" tIns="45683" rIns="91392" bIns="4568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800"/>
              </a:pPr>
              <a:endPara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" name="Google Shape;139;p5">
            <a:extLst>
              <a:ext uri="{FF2B5EF4-FFF2-40B4-BE49-F238E27FC236}">
                <a16:creationId xmlns:a16="http://schemas.microsoft.com/office/drawing/2014/main" id="{2FABBF4D-21ED-1975-AB92-BA7E17F70010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9524FA-A8D8-37B3-43C8-0007CFF0A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ategic VET policies up to 2030 in Finland</a:t>
            </a:r>
            <a:br>
              <a:rPr lang="en-US" sz="2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BC55B86E-025E-2E93-8B0C-84372BC982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0029053"/>
              </p:ext>
            </p:extLst>
          </p:nvPr>
        </p:nvGraphicFramePr>
        <p:xfrm>
          <a:off x="1240219" y="1355835"/>
          <a:ext cx="9543393" cy="47716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Google Shape;139;p5">
            <a:extLst>
              <a:ext uri="{FF2B5EF4-FFF2-40B4-BE49-F238E27FC236}">
                <a16:creationId xmlns:a16="http://schemas.microsoft.com/office/drawing/2014/main" id="{49BA3170-0AEA-5AB8-A802-FB94D40FE31A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222581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7"/>
          <p:cNvSpPr txBox="1"/>
          <p:nvPr/>
        </p:nvSpPr>
        <p:spPr>
          <a:xfrm>
            <a:off x="1369900" y="1000824"/>
            <a:ext cx="3976626" cy="1398626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86246" dist="146000" dir="5400000" sx="98000" sy="98000" algn="t" rotWithShape="0">
              <a:schemeClr val="dk2">
                <a:alpha val="33333"/>
              </a:schemeClr>
            </a:outerShdw>
          </a:effectLst>
        </p:spPr>
        <p:txBody>
          <a:bodyPr spcFirstLastPara="1" wrap="square" lIns="287771" tIns="143981" rIns="287771" bIns="143981" anchor="t" anchorCtr="0">
            <a:spAutoFit/>
          </a:bodyPr>
          <a:lstStyle/>
          <a:p>
            <a:pPr algn="ctr"/>
            <a:r>
              <a:rPr lang="en-US" b="1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National level: </a:t>
            </a:r>
            <a: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160 vocational qualifications, 3000 modules covering all </a:t>
            </a:r>
            <a:b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major industries</a:t>
            </a:r>
            <a:endParaRPr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7"/>
          <p:cNvSpPr txBox="1"/>
          <p:nvPr/>
        </p:nvSpPr>
        <p:spPr>
          <a:xfrm>
            <a:off x="8012434" y="3640378"/>
            <a:ext cx="3866898" cy="2229515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86246" dist="146000" dir="5400000" sx="98000" sy="98000" algn="t" rotWithShape="0">
              <a:srgbClr val="000000">
                <a:alpha val="21568"/>
              </a:srgbClr>
            </a:outerShdw>
          </a:effectLst>
        </p:spPr>
        <p:txBody>
          <a:bodyPr spcFirstLastPara="1" wrap="square" lIns="287771" tIns="143981" rIns="287771" bIns="143981" anchor="t" anchorCtr="0">
            <a:spAutoFit/>
          </a:bodyPr>
          <a:lstStyle/>
          <a:p>
            <a:pPr algn="ctr"/>
            <a:r>
              <a:rPr lang="fi-FI" b="1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Vet</a:t>
            </a:r>
            <a:r>
              <a:rPr lang="fi-FI" b="1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b="1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oviders</a:t>
            </a:r>
            <a:r>
              <a:rPr lang="fi-FI" b="1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: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diverse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artnerships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with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ivate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ector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,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universities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,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local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authorities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and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other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VET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oviders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to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omote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careers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, lifelong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learning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and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job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fi-FI" dirty="0" err="1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creation</a:t>
            </a:r>
            <a:r>
              <a:rPr lang="fi-FI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 </a:t>
            </a:r>
            <a:endParaRPr dirty="0">
              <a:solidFill>
                <a:srgbClr val="00358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212" name="Google Shape;212;p7"/>
          <p:cNvSpPr txBox="1"/>
          <p:nvPr/>
        </p:nvSpPr>
        <p:spPr>
          <a:xfrm>
            <a:off x="8020111" y="1549786"/>
            <a:ext cx="3635816" cy="1675589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86246" dist="146000" dir="5400000" sx="98000" sy="98000" algn="t" rotWithShape="0">
              <a:srgbClr val="000000">
                <a:alpha val="21568"/>
              </a:srgbClr>
            </a:outerShdw>
          </a:effectLst>
        </p:spPr>
        <p:txBody>
          <a:bodyPr spcFirstLastPara="1" wrap="square" lIns="287771" tIns="143981" rIns="287771" bIns="143981" anchor="t" anchorCtr="0">
            <a:spAutoFit/>
          </a:bodyPr>
          <a:lstStyle/>
          <a:p>
            <a:pPr algn="ctr"/>
            <a:r>
              <a:rPr lang="en-US" b="1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National Level:</a:t>
            </a:r>
            <a: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 learning outcomes, competence requirements and assessment process feeding into national data base</a:t>
            </a:r>
            <a:endParaRPr sz="14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" name="Google Shape;213;p7"/>
          <p:cNvSpPr txBox="1"/>
          <p:nvPr/>
        </p:nvSpPr>
        <p:spPr>
          <a:xfrm>
            <a:off x="325125" y="2597563"/>
            <a:ext cx="3426276" cy="1952552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86246" dist="146000" dir="5400000" sx="98000" sy="98000" algn="t" rotWithShape="0">
              <a:srgbClr val="000000">
                <a:alpha val="21568"/>
              </a:srgbClr>
            </a:outerShdw>
          </a:effectLst>
        </p:spPr>
        <p:txBody>
          <a:bodyPr spcFirstLastPara="1" wrap="square" lIns="287771" tIns="143981" rIns="287771" bIns="143981" anchor="t" anchorCtr="0">
            <a:spAutoFit/>
          </a:bodyPr>
          <a:lstStyle/>
          <a:p>
            <a:pPr algn="ctr"/>
            <a:r>
              <a:rPr lang="en-US" b="1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VET providers </a:t>
            </a:r>
            <a: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design their own curriculum and learning environments, blending core and professional studies </a:t>
            </a:r>
            <a:b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with sustainable skills</a:t>
            </a:r>
            <a:endParaRPr sz="14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" name="Google Shape;214;p7"/>
          <p:cNvSpPr txBox="1"/>
          <p:nvPr/>
        </p:nvSpPr>
        <p:spPr>
          <a:xfrm>
            <a:off x="791078" y="4748230"/>
            <a:ext cx="4092667" cy="1121663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86246" dist="146000" dir="5400000" sx="98000" sy="98000" algn="t" rotWithShape="0">
              <a:srgbClr val="000000">
                <a:alpha val="21568"/>
              </a:srgbClr>
            </a:outerShdw>
          </a:effectLst>
        </p:spPr>
        <p:txBody>
          <a:bodyPr spcFirstLastPara="1" wrap="square" lIns="287771" tIns="143981" rIns="287771" bIns="143981" anchor="t" anchorCtr="0">
            <a:spAutoFit/>
          </a:bodyPr>
          <a:lstStyle/>
          <a:p>
            <a:pPr algn="ctr"/>
            <a:r>
              <a:rPr lang="en-US" b="1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VET provider </a:t>
            </a:r>
            <a:r>
              <a:rPr lang="en-US" dirty="0">
                <a:solidFill>
                  <a:srgbClr val="003580"/>
                </a:solidFill>
                <a:latin typeface="Open Sans"/>
                <a:ea typeface="Open Sans"/>
                <a:cs typeface="Open Sans"/>
                <a:sym typeface="Open Sans"/>
              </a:rPr>
              <a:t>quality assurance with transparent national level reporting  </a:t>
            </a:r>
            <a:endParaRPr sz="14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5" name="Google Shape;215;p7"/>
          <p:cNvSpPr/>
          <p:nvPr/>
        </p:nvSpPr>
        <p:spPr>
          <a:xfrm>
            <a:off x="4477610" y="1735035"/>
            <a:ext cx="3366071" cy="3366074"/>
          </a:xfrm>
          <a:prstGeom prst="ellipse">
            <a:avLst/>
          </a:prstGeom>
          <a:solidFill>
            <a:srgbClr val="A5A5A5">
              <a:alpha val="20000"/>
            </a:srgbClr>
          </a:solidFill>
          <a:ln>
            <a:noFill/>
          </a:ln>
        </p:spPr>
        <p:txBody>
          <a:bodyPr spcFirstLastPara="1" wrap="square" lIns="61628" tIns="30789" rIns="61628" bIns="30789" anchor="t" anchorCtr="0">
            <a:noAutofit/>
          </a:bodyPr>
          <a:lstStyle/>
          <a:p>
            <a:endParaRPr sz="900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6" name="Google Shape;216;p7"/>
          <p:cNvSpPr/>
          <p:nvPr/>
        </p:nvSpPr>
        <p:spPr>
          <a:xfrm>
            <a:off x="4197062" y="1454488"/>
            <a:ext cx="3927164" cy="3927169"/>
          </a:xfrm>
          <a:prstGeom prst="ellipse">
            <a:avLst/>
          </a:prstGeom>
          <a:noFill/>
          <a:ln w="9525" cap="flat" cmpd="sng">
            <a:solidFill>
              <a:srgbClr val="A5A5A5">
                <a:alpha val="49411"/>
              </a:srgbClr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1628" tIns="30789" rIns="61628" bIns="30789" anchor="t" anchorCtr="0">
            <a:noAutofit/>
          </a:bodyPr>
          <a:lstStyle/>
          <a:p>
            <a:endParaRPr sz="900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7" name="Google Shape;217;p7"/>
          <p:cNvSpPr/>
          <p:nvPr/>
        </p:nvSpPr>
        <p:spPr>
          <a:xfrm>
            <a:off x="3946305" y="1203726"/>
            <a:ext cx="4428685" cy="4428691"/>
          </a:xfrm>
          <a:prstGeom prst="ellipse">
            <a:avLst/>
          </a:prstGeom>
          <a:noFill/>
          <a:ln w="9525" cap="flat" cmpd="sng">
            <a:solidFill>
              <a:srgbClr val="A5A5A5">
                <a:alpha val="49411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1628" tIns="30789" rIns="61628" bIns="30789" anchor="t" anchorCtr="0">
            <a:noAutofit/>
          </a:bodyPr>
          <a:lstStyle/>
          <a:p>
            <a:endParaRPr sz="900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218" name="Google Shape;218;p7"/>
          <p:cNvGrpSpPr/>
          <p:nvPr/>
        </p:nvGrpSpPr>
        <p:grpSpPr>
          <a:xfrm>
            <a:off x="5190258" y="2438834"/>
            <a:ext cx="1958468" cy="1958470"/>
            <a:chOff x="-1" y="4"/>
            <a:chExt cx="3787" cy="3787"/>
          </a:xfrm>
        </p:grpSpPr>
        <p:sp>
          <p:nvSpPr>
            <p:cNvPr id="219" name="Google Shape;219;p7"/>
            <p:cNvSpPr/>
            <p:nvPr/>
          </p:nvSpPr>
          <p:spPr>
            <a:xfrm>
              <a:off x="-1" y="4"/>
              <a:ext cx="3787" cy="3787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61653" tIns="30814" rIns="61653" bIns="30814" anchor="t" anchorCtr="0">
              <a:noAutofit/>
            </a:bodyPr>
            <a:lstStyle/>
            <a:p>
              <a:endParaRPr sz="90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20" name="Google Shape;220;p7"/>
            <p:cNvSpPr/>
            <p:nvPr/>
          </p:nvSpPr>
          <p:spPr>
            <a:xfrm>
              <a:off x="328" y="16"/>
              <a:ext cx="3458" cy="3753"/>
            </a:xfrm>
            <a:custGeom>
              <a:avLst/>
              <a:gdLst/>
              <a:ahLst/>
              <a:cxnLst/>
              <a:rect l="l" t="t" r="r" b="b"/>
              <a:pathLst>
                <a:path w="1461" h="1586" extrusionOk="0">
                  <a:moveTo>
                    <a:pt x="714" y="16"/>
                  </a:moveTo>
                  <a:cubicBezTo>
                    <a:pt x="714" y="16"/>
                    <a:pt x="714" y="16"/>
                    <a:pt x="714" y="16"/>
                  </a:cubicBezTo>
                  <a:cubicBezTo>
                    <a:pt x="714" y="16"/>
                    <a:pt x="714" y="16"/>
                    <a:pt x="714" y="16"/>
                  </a:cubicBezTo>
                  <a:cubicBezTo>
                    <a:pt x="714" y="17"/>
                    <a:pt x="714" y="17"/>
                    <a:pt x="714" y="17"/>
                  </a:cubicBezTo>
                  <a:cubicBezTo>
                    <a:pt x="713" y="17"/>
                    <a:pt x="713" y="17"/>
                    <a:pt x="713" y="17"/>
                  </a:cubicBezTo>
                  <a:cubicBezTo>
                    <a:pt x="712" y="17"/>
                    <a:pt x="711" y="17"/>
                    <a:pt x="710" y="17"/>
                  </a:cubicBezTo>
                  <a:cubicBezTo>
                    <a:pt x="710" y="17"/>
                    <a:pt x="710" y="17"/>
                    <a:pt x="710" y="17"/>
                  </a:cubicBezTo>
                  <a:cubicBezTo>
                    <a:pt x="710" y="17"/>
                    <a:pt x="710" y="17"/>
                    <a:pt x="710" y="17"/>
                  </a:cubicBezTo>
                  <a:cubicBezTo>
                    <a:pt x="710" y="17"/>
                    <a:pt x="710" y="17"/>
                    <a:pt x="709" y="17"/>
                  </a:cubicBezTo>
                  <a:cubicBezTo>
                    <a:pt x="709" y="16"/>
                    <a:pt x="709" y="16"/>
                    <a:pt x="709" y="15"/>
                  </a:cubicBezTo>
                  <a:cubicBezTo>
                    <a:pt x="709" y="15"/>
                    <a:pt x="709" y="14"/>
                    <a:pt x="709" y="14"/>
                  </a:cubicBezTo>
                  <a:cubicBezTo>
                    <a:pt x="710" y="13"/>
                    <a:pt x="710" y="13"/>
                    <a:pt x="711" y="12"/>
                  </a:cubicBezTo>
                  <a:cubicBezTo>
                    <a:pt x="711" y="11"/>
                    <a:pt x="712" y="11"/>
                    <a:pt x="713" y="10"/>
                  </a:cubicBezTo>
                  <a:cubicBezTo>
                    <a:pt x="714" y="10"/>
                    <a:pt x="716" y="10"/>
                    <a:pt x="717" y="11"/>
                  </a:cubicBezTo>
                  <a:cubicBezTo>
                    <a:pt x="717" y="12"/>
                    <a:pt x="717" y="12"/>
                    <a:pt x="716" y="13"/>
                  </a:cubicBezTo>
                  <a:cubicBezTo>
                    <a:pt x="715" y="14"/>
                    <a:pt x="715" y="15"/>
                    <a:pt x="714" y="16"/>
                  </a:cubicBezTo>
                  <a:close/>
                  <a:moveTo>
                    <a:pt x="704" y="19"/>
                  </a:moveTo>
                  <a:cubicBezTo>
                    <a:pt x="702" y="20"/>
                    <a:pt x="701" y="22"/>
                    <a:pt x="699" y="24"/>
                  </a:cubicBezTo>
                  <a:cubicBezTo>
                    <a:pt x="698" y="26"/>
                    <a:pt x="699" y="28"/>
                    <a:pt x="699" y="30"/>
                  </a:cubicBezTo>
                  <a:cubicBezTo>
                    <a:pt x="700" y="32"/>
                    <a:pt x="704" y="33"/>
                    <a:pt x="706" y="33"/>
                  </a:cubicBezTo>
                  <a:cubicBezTo>
                    <a:pt x="710" y="33"/>
                    <a:pt x="715" y="34"/>
                    <a:pt x="720" y="34"/>
                  </a:cubicBezTo>
                  <a:cubicBezTo>
                    <a:pt x="718" y="35"/>
                    <a:pt x="717" y="35"/>
                    <a:pt x="716" y="35"/>
                  </a:cubicBezTo>
                  <a:cubicBezTo>
                    <a:pt x="714" y="35"/>
                    <a:pt x="712" y="35"/>
                    <a:pt x="710" y="35"/>
                  </a:cubicBezTo>
                  <a:cubicBezTo>
                    <a:pt x="709" y="35"/>
                    <a:pt x="709" y="38"/>
                    <a:pt x="708" y="39"/>
                  </a:cubicBezTo>
                  <a:cubicBezTo>
                    <a:pt x="708" y="40"/>
                    <a:pt x="708" y="40"/>
                    <a:pt x="708" y="40"/>
                  </a:cubicBezTo>
                  <a:cubicBezTo>
                    <a:pt x="710" y="42"/>
                    <a:pt x="714" y="40"/>
                    <a:pt x="716" y="41"/>
                  </a:cubicBezTo>
                  <a:cubicBezTo>
                    <a:pt x="720" y="41"/>
                    <a:pt x="723" y="42"/>
                    <a:pt x="727" y="42"/>
                  </a:cubicBezTo>
                  <a:cubicBezTo>
                    <a:pt x="727" y="42"/>
                    <a:pt x="728" y="42"/>
                    <a:pt x="728" y="41"/>
                  </a:cubicBezTo>
                  <a:cubicBezTo>
                    <a:pt x="728" y="39"/>
                    <a:pt x="730" y="39"/>
                    <a:pt x="732" y="38"/>
                  </a:cubicBezTo>
                  <a:cubicBezTo>
                    <a:pt x="733" y="37"/>
                    <a:pt x="735" y="38"/>
                    <a:pt x="736" y="37"/>
                  </a:cubicBezTo>
                  <a:cubicBezTo>
                    <a:pt x="737" y="36"/>
                    <a:pt x="739" y="35"/>
                    <a:pt x="739" y="35"/>
                  </a:cubicBezTo>
                  <a:cubicBezTo>
                    <a:pt x="740" y="34"/>
                    <a:pt x="740" y="34"/>
                    <a:pt x="740" y="33"/>
                  </a:cubicBezTo>
                  <a:cubicBezTo>
                    <a:pt x="740" y="33"/>
                    <a:pt x="740" y="33"/>
                    <a:pt x="740" y="33"/>
                  </a:cubicBezTo>
                  <a:cubicBezTo>
                    <a:pt x="742" y="32"/>
                    <a:pt x="746" y="32"/>
                    <a:pt x="747" y="29"/>
                  </a:cubicBezTo>
                  <a:cubicBezTo>
                    <a:pt x="748" y="27"/>
                    <a:pt x="745" y="27"/>
                    <a:pt x="745" y="26"/>
                  </a:cubicBezTo>
                  <a:cubicBezTo>
                    <a:pt x="743" y="24"/>
                    <a:pt x="740" y="26"/>
                    <a:pt x="738" y="27"/>
                  </a:cubicBezTo>
                  <a:cubicBezTo>
                    <a:pt x="735" y="28"/>
                    <a:pt x="737" y="26"/>
                    <a:pt x="736" y="25"/>
                  </a:cubicBezTo>
                  <a:cubicBezTo>
                    <a:pt x="735" y="24"/>
                    <a:pt x="734" y="24"/>
                    <a:pt x="733" y="24"/>
                  </a:cubicBezTo>
                  <a:cubicBezTo>
                    <a:pt x="730" y="24"/>
                    <a:pt x="725" y="23"/>
                    <a:pt x="724" y="26"/>
                  </a:cubicBezTo>
                  <a:cubicBezTo>
                    <a:pt x="723" y="27"/>
                    <a:pt x="728" y="28"/>
                    <a:pt x="725" y="29"/>
                  </a:cubicBezTo>
                  <a:cubicBezTo>
                    <a:pt x="724" y="30"/>
                    <a:pt x="724" y="31"/>
                    <a:pt x="723" y="28"/>
                  </a:cubicBezTo>
                  <a:cubicBezTo>
                    <a:pt x="722" y="26"/>
                    <a:pt x="720" y="25"/>
                    <a:pt x="719" y="24"/>
                  </a:cubicBezTo>
                  <a:cubicBezTo>
                    <a:pt x="716" y="22"/>
                    <a:pt x="713" y="27"/>
                    <a:pt x="712" y="29"/>
                  </a:cubicBezTo>
                  <a:cubicBezTo>
                    <a:pt x="713" y="28"/>
                    <a:pt x="710" y="23"/>
                    <a:pt x="709" y="22"/>
                  </a:cubicBezTo>
                  <a:cubicBezTo>
                    <a:pt x="709" y="19"/>
                    <a:pt x="706" y="19"/>
                    <a:pt x="704" y="19"/>
                  </a:cubicBezTo>
                  <a:close/>
                  <a:moveTo>
                    <a:pt x="788" y="6"/>
                  </a:moveTo>
                  <a:cubicBezTo>
                    <a:pt x="786" y="6"/>
                    <a:pt x="782" y="5"/>
                    <a:pt x="781" y="6"/>
                  </a:cubicBezTo>
                  <a:cubicBezTo>
                    <a:pt x="781" y="7"/>
                    <a:pt x="781" y="7"/>
                    <a:pt x="781" y="7"/>
                  </a:cubicBezTo>
                  <a:cubicBezTo>
                    <a:pt x="782" y="7"/>
                    <a:pt x="782" y="7"/>
                    <a:pt x="782" y="7"/>
                  </a:cubicBezTo>
                  <a:cubicBezTo>
                    <a:pt x="783" y="7"/>
                    <a:pt x="784" y="8"/>
                    <a:pt x="785" y="8"/>
                  </a:cubicBezTo>
                  <a:cubicBezTo>
                    <a:pt x="785" y="8"/>
                    <a:pt x="786" y="8"/>
                    <a:pt x="787" y="8"/>
                  </a:cubicBezTo>
                  <a:cubicBezTo>
                    <a:pt x="788" y="8"/>
                    <a:pt x="789" y="8"/>
                    <a:pt x="789" y="8"/>
                  </a:cubicBezTo>
                  <a:cubicBezTo>
                    <a:pt x="789" y="8"/>
                    <a:pt x="790" y="8"/>
                    <a:pt x="790" y="8"/>
                  </a:cubicBezTo>
                  <a:cubicBezTo>
                    <a:pt x="790" y="8"/>
                    <a:pt x="790" y="8"/>
                    <a:pt x="790" y="8"/>
                  </a:cubicBezTo>
                  <a:cubicBezTo>
                    <a:pt x="790" y="8"/>
                    <a:pt x="790" y="8"/>
                    <a:pt x="791" y="8"/>
                  </a:cubicBezTo>
                  <a:cubicBezTo>
                    <a:pt x="791" y="8"/>
                    <a:pt x="791" y="8"/>
                    <a:pt x="791" y="7"/>
                  </a:cubicBezTo>
                  <a:cubicBezTo>
                    <a:pt x="791" y="7"/>
                    <a:pt x="792" y="7"/>
                    <a:pt x="791" y="7"/>
                  </a:cubicBezTo>
                  <a:cubicBezTo>
                    <a:pt x="791" y="6"/>
                    <a:pt x="789" y="6"/>
                    <a:pt x="788" y="6"/>
                  </a:cubicBezTo>
                  <a:close/>
                  <a:moveTo>
                    <a:pt x="738" y="8"/>
                  </a:moveTo>
                  <a:cubicBezTo>
                    <a:pt x="733" y="8"/>
                    <a:pt x="736" y="7"/>
                    <a:pt x="734" y="6"/>
                  </a:cubicBezTo>
                  <a:cubicBezTo>
                    <a:pt x="733" y="6"/>
                    <a:pt x="731" y="6"/>
                    <a:pt x="731" y="6"/>
                  </a:cubicBezTo>
                  <a:cubicBezTo>
                    <a:pt x="730" y="6"/>
                    <a:pt x="730" y="7"/>
                    <a:pt x="730" y="7"/>
                  </a:cubicBezTo>
                  <a:cubicBezTo>
                    <a:pt x="730" y="7"/>
                    <a:pt x="730" y="7"/>
                    <a:pt x="730" y="7"/>
                  </a:cubicBezTo>
                  <a:cubicBezTo>
                    <a:pt x="730" y="7"/>
                    <a:pt x="730" y="8"/>
                    <a:pt x="730" y="8"/>
                  </a:cubicBezTo>
                  <a:cubicBezTo>
                    <a:pt x="732" y="8"/>
                    <a:pt x="733" y="9"/>
                    <a:pt x="734" y="9"/>
                  </a:cubicBezTo>
                  <a:cubicBezTo>
                    <a:pt x="737" y="9"/>
                    <a:pt x="739" y="10"/>
                    <a:pt x="741" y="10"/>
                  </a:cubicBezTo>
                  <a:cubicBezTo>
                    <a:pt x="741" y="10"/>
                    <a:pt x="741" y="10"/>
                    <a:pt x="741" y="11"/>
                  </a:cubicBezTo>
                  <a:cubicBezTo>
                    <a:pt x="741" y="11"/>
                    <a:pt x="742" y="11"/>
                    <a:pt x="743" y="11"/>
                  </a:cubicBezTo>
                  <a:cubicBezTo>
                    <a:pt x="743" y="11"/>
                    <a:pt x="744" y="11"/>
                    <a:pt x="745" y="11"/>
                  </a:cubicBezTo>
                  <a:cubicBezTo>
                    <a:pt x="745" y="11"/>
                    <a:pt x="745" y="11"/>
                    <a:pt x="745" y="11"/>
                  </a:cubicBezTo>
                  <a:cubicBezTo>
                    <a:pt x="745" y="11"/>
                    <a:pt x="745" y="12"/>
                    <a:pt x="745" y="12"/>
                  </a:cubicBezTo>
                  <a:cubicBezTo>
                    <a:pt x="745" y="12"/>
                    <a:pt x="746" y="12"/>
                    <a:pt x="747" y="12"/>
                  </a:cubicBezTo>
                  <a:cubicBezTo>
                    <a:pt x="747" y="12"/>
                    <a:pt x="748" y="13"/>
                    <a:pt x="748" y="13"/>
                  </a:cubicBezTo>
                  <a:cubicBezTo>
                    <a:pt x="752" y="13"/>
                    <a:pt x="749" y="14"/>
                    <a:pt x="747" y="15"/>
                  </a:cubicBezTo>
                  <a:cubicBezTo>
                    <a:pt x="747" y="15"/>
                    <a:pt x="747" y="16"/>
                    <a:pt x="747" y="16"/>
                  </a:cubicBezTo>
                  <a:cubicBezTo>
                    <a:pt x="749" y="18"/>
                    <a:pt x="755" y="17"/>
                    <a:pt x="757" y="16"/>
                  </a:cubicBezTo>
                  <a:cubicBezTo>
                    <a:pt x="758" y="16"/>
                    <a:pt x="758" y="15"/>
                    <a:pt x="759" y="15"/>
                  </a:cubicBezTo>
                  <a:cubicBezTo>
                    <a:pt x="760" y="13"/>
                    <a:pt x="763" y="13"/>
                    <a:pt x="765" y="12"/>
                  </a:cubicBezTo>
                  <a:cubicBezTo>
                    <a:pt x="765" y="12"/>
                    <a:pt x="765" y="12"/>
                    <a:pt x="765" y="12"/>
                  </a:cubicBezTo>
                  <a:cubicBezTo>
                    <a:pt x="765" y="11"/>
                    <a:pt x="765" y="11"/>
                    <a:pt x="765" y="11"/>
                  </a:cubicBezTo>
                  <a:cubicBezTo>
                    <a:pt x="765" y="11"/>
                    <a:pt x="765" y="11"/>
                    <a:pt x="765" y="11"/>
                  </a:cubicBezTo>
                  <a:cubicBezTo>
                    <a:pt x="763" y="10"/>
                    <a:pt x="762" y="9"/>
                    <a:pt x="760" y="9"/>
                  </a:cubicBezTo>
                  <a:cubicBezTo>
                    <a:pt x="761" y="9"/>
                    <a:pt x="761" y="9"/>
                    <a:pt x="762" y="8"/>
                  </a:cubicBezTo>
                  <a:cubicBezTo>
                    <a:pt x="762" y="8"/>
                    <a:pt x="762" y="7"/>
                    <a:pt x="762" y="7"/>
                  </a:cubicBezTo>
                  <a:cubicBezTo>
                    <a:pt x="759" y="7"/>
                    <a:pt x="755" y="7"/>
                    <a:pt x="752" y="7"/>
                  </a:cubicBezTo>
                  <a:cubicBezTo>
                    <a:pt x="752" y="7"/>
                    <a:pt x="752" y="7"/>
                    <a:pt x="752" y="7"/>
                  </a:cubicBezTo>
                  <a:cubicBezTo>
                    <a:pt x="752" y="6"/>
                    <a:pt x="753" y="6"/>
                    <a:pt x="753" y="6"/>
                  </a:cubicBezTo>
                  <a:cubicBezTo>
                    <a:pt x="753" y="6"/>
                    <a:pt x="753" y="6"/>
                    <a:pt x="753" y="5"/>
                  </a:cubicBezTo>
                  <a:cubicBezTo>
                    <a:pt x="753" y="5"/>
                    <a:pt x="753" y="5"/>
                    <a:pt x="753" y="5"/>
                  </a:cubicBezTo>
                  <a:cubicBezTo>
                    <a:pt x="752" y="4"/>
                    <a:pt x="751" y="4"/>
                    <a:pt x="749" y="4"/>
                  </a:cubicBezTo>
                  <a:cubicBezTo>
                    <a:pt x="748" y="4"/>
                    <a:pt x="746" y="3"/>
                    <a:pt x="744" y="3"/>
                  </a:cubicBezTo>
                  <a:cubicBezTo>
                    <a:pt x="744" y="3"/>
                    <a:pt x="744" y="3"/>
                    <a:pt x="744" y="3"/>
                  </a:cubicBezTo>
                  <a:cubicBezTo>
                    <a:pt x="744" y="3"/>
                    <a:pt x="744" y="3"/>
                    <a:pt x="743" y="3"/>
                  </a:cubicBezTo>
                  <a:cubicBezTo>
                    <a:pt x="743" y="2"/>
                    <a:pt x="742" y="2"/>
                    <a:pt x="741" y="2"/>
                  </a:cubicBezTo>
                  <a:cubicBezTo>
                    <a:pt x="740" y="2"/>
                    <a:pt x="736" y="2"/>
                    <a:pt x="737" y="4"/>
                  </a:cubicBezTo>
                  <a:cubicBezTo>
                    <a:pt x="737" y="4"/>
                    <a:pt x="737" y="4"/>
                    <a:pt x="737" y="4"/>
                  </a:cubicBezTo>
                  <a:cubicBezTo>
                    <a:pt x="738" y="5"/>
                    <a:pt x="739" y="4"/>
                    <a:pt x="740" y="4"/>
                  </a:cubicBezTo>
                  <a:cubicBezTo>
                    <a:pt x="741" y="4"/>
                    <a:pt x="742" y="4"/>
                    <a:pt x="743" y="5"/>
                  </a:cubicBezTo>
                  <a:cubicBezTo>
                    <a:pt x="743" y="5"/>
                    <a:pt x="743" y="5"/>
                    <a:pt x="743" y="5"/>
                  </a:cubicBezTo>
                  <a:cubicBezTo>
                    <a:pt x="742" y="5"/>
                    <a:pt x="742" y="5"/>
                    <a:pt x="741" y="6"/>
                  </a:cubicBezTo>
                  <a:cubicBezTo>
                    <a:pt x="741" y="6"/>
                    <a:pt x="740" y="7"/>
                    <a:pt x="741" y="7"/>
                  </a:cubicBezTo>
                  <a:cubicBezTo>
                    <a:pt x="741" y="7"/>
                    <a:pt x="742" y="7"/>
                    <a:pt x="742" y="7"/>
                  </a:cubicBezTo>
                  <a:cubicBezTo>
                    <a:pt x="742" y="8"/>
                    <a:pt x="742" y="8"/>
                    <a:pt x="743" y="8"/>
                  </a:cubicBezTo>
                  <a:cubicBezTo>
                    <a:pt x="747" y="8"/>
                    <a:pt x="739" y="8"/>
                    <a:pt x="738" y="8"/>
                  </a:cubicBezTo>
                  <a:close/>
                  <a:moveTo>
                    <a:pt x="638" y="116"/>
                  </a:moveTo>
                  <a:cubicBezTo>
                    <a:pt x="637" y="116"/>
                    <a:pt x="636" y="118"/>
                    <a:pt x="636" y="119"/>
                  </a:cubicBezTo>
                  <a:cubicBezTo>
                    <a:pt x="636" y="119"/>
                    <a:pt x="636" y="119"/>
                    <a:pt x="637" y="119"/>
                  </a:cubicBezTo>
                  <a:cubicBezTo>
                    <a:pt x="637" y="119"/>
                    <a:pt x="637" y="120"/>
                    <a:pt x="637" y="120"/>
                  </a:cubicBezTo>
                  <a:cubicBezTo>
                    <a:pt x="638" y="120"/>
                    <a:pt x="639" y="119"/>
                    <a:pt x="639" y="118"/>
                  </a:cubicBezTo>
                  <a:cubicBezTo>
                    <a:pt x="639" y="118"/>
                    <a:pt x="639" y="116"/>
                    <a:pt x="638" y="116"/>
                  </a:cubicBezTo>
                  <a:close/>
                  <a:moveTo>
                    <a:pt x="638" y="100"/>
                  </a:moveTo>
                  <a:cubicBezTo>
                    <a:pt x="634" y="99"/>
                    <a:pt x="635" y="95"/>
                    <a:pt x="634" y="92"/>
                  </a:cubicBezTo>
                  <a:cubicBezTo>
                    <a:pt x="633" y="91"/>
                    <a:pt x="631" y="91"/>
                    <a:pt x="631" y="89"/>
                  </a:cubicBezTo>
                  <a:cubicBezTo>
                    <a:pt x="629" y="85"/>
                    <a:pt x="620" y="85"/>
                    <a:pt x="628" y="81"/>
                  </a:cubicBezTo>
                  <a:cubicBezTo>
                    <a:pt x="630" y="80"/>
                    <a:pt x="631" y="79"/>
                    <a:pt x="632" y="77"/>
                  </a:cubicBezTo>
                  <a:cubicBezTo>
                    <a:pt x="632" y="77"/>
                    <a:pt x="632" y="75"/>
                    <a:pt x="632" y="75"/>
                  </a:cubicBezTo>
                  <a:cubicBezTo>
                    <a:pt x="632" y="72"/>
                    <a:pt x="635" y="70"/>
                    <a:pt x="636" y="68"/>
                  </a:cubicBezTo>
                  <a:cubicBezTo>
                    <a:pt x="640" y="64"/>
                    <a:pt x="643" y="62"/>
                    <a:pt x="641" y="57"/>
                  </a:cubicBezTo>
                  <a:cubicBezTo>
                    <a:pt x="639" y="51"/>
                    <a:pt x="637" y="53"/>
                    <a:pt x="632" y="52"/>
                  </a:cubicBezTo>
                  <a:cubicBezTo>
                    <a:pt x="628" y="51"/>
                    <a:pt x="623" y="52"/>
                    <a:pt x="621" y="56"/>
                  </a:cubicBezTo>
                  <a:cubicBezTo>
                    <a:pt x="620" y="57"/>
                    <a:pt x="620" y="59"/>
                    <a:pt x="619" y="61"/>
                  </a:cubicBezTo>
                  <a:cubicBezTo>
                    <a:pt x="618" y="63"/>
                    <a:pt x="615" y="65"/>
                    <a:pt x="613" y="67"/>
                  </a:cubicBezTo>
                  <a:cubicBezTo>
                    <a:pt x="612" y="68"/>
                    <a:pt x="612" y="68"/>
                    <a:pt x="612" y="69"/>
                  </a:cubicBezTo>
                  <a:cubicBezTo>
                    <a:pt x="612" y="72"/>
                    <a:pt x="610" y="73"/>
                    <a:pt x="608" y="73"/>
                  </a:cubicBezTo>
                  <a:cubicBezTo>
                    <a:pt x="607" y="73"/>
                    <a:pt x="606" y="74"/>
                    <a:pt x="605" y="75"/>
                  </a:cubicBezTo>
                  <a:cubicBezTo>
                    <a:pt x="605" y="76"/>
                    <a:pt x="604" y="77"/>
                    <a:pt x="603" y="77"/>
                  </a:cubicBezTo>
                  <a:cubicBezTo>
                    <a:pt x="602" y="78"/>
                    <a:pt x="600" y="79"/>
                    <a:pt x="602" y="77"/>
                  </a:cubicBezTo>
                  <a:cubicBezTo>
                    <a:pt x="602" y="77"/>
                    <a:pt x="603" y="76"/>
                    <a:pt x="603" y="75"/>
                  </a:cubicBezTo>
                  <a:cubicBezTo>
                    <a:pt x="604" y="73"/>
                    <a:pt x="605" y="72"/>
                    <a:pt x="606" y="70"/>
                  </a:cubicBezTo>
                  <a:cubicBezTo>
                    <a:pt x="610" y="65"/>
                    <a:pt x="614" y="60"/>
                    <a:pt x="610" y="55"/>
                  </a:cubicBezTo>
                  <a:cubicBezTo>
                    <a:pt x="609" y="53"/>
                    <a:pt x="607" y="53"/>
                    <a:pt x="605" y="54"/>
                  </a:cubicBezTo>
                  <a:cubicBezTo>
                    <a:pt x="603" y="56"/>
                    <a:pt x="603" y="60"/>
                    <a:pt x="599" y="60"/>
                  </a:cubicBezTo>
                  <a:cubicBezTo>
                    <a:pt x="596" y="60"/>
                    <a:pt x="593" y="61"/>
                    <a:pt x="589" y="61"/>
                  </a:cubicBezTo>
                  <a:cubicBezTo>
                    <a:pt x="587" y="61"/>
                    <a:pt x="586" y="61"/>
                    <a:pt x="584" y="61"/>
                  </a:cubicBezTo>
                  <a:cubicBezTo>
                    <a:pt x="586" y="61"/>
                    <a:pt x="589" y="60"/>
                    <a:pt x="591" y="59"/>
                  </a:cubicBezTo>
                  <a:cubicBezTo>
                    <a:pt x="594" y="59"/>
                    <a:pt x="599" y="57"/>
                    <a:pt x="595" y="55"/>
                  </a:cubicBezTo>
                  <a:cubicBezTo>
                    <a:pt x="593" y="53"/>
                    <a:pt x="588" y="51"/>
                    <a:pt x="586" y="52"/>
                  </a:cubicBezTo>
                  <a:cubicBezTo>
                    <a:pt x="582" y="53"/>
                    <a:pt x="578" y="57"/>
                    <a:pt x="574" y="57"/>
                  </a:cubicBezTo>
                  <a:cubicBezTo>
                    <a:pt x="571" y="57"/>
                    <a:pt x="579" y="54"/>
                    <a:pt x="579" y="54"/>
                  </a:cubicBezTo>
                  <a:cubicBezTo>
                    <a:pt x="581" y="52"/>
                    <a:pt x="583" y="50"/>
                    <a:pt x="584" y="47"/>
                  </a:cubicBezTo>
                  <a:cubicBezTo>
                    <a:pt x="584" y="47"/>
                    <a:pt x="583" y="47"/>
                    <a:pt x="583" y="47"/>
                  </a:cubicBezTo>
                  <a:cubicBezTo>
                    <a:pt x="581" y="46"/>
                    <a:pt x="578" y="47"/>
                    <a:pt x="576" y="48"/>
                  </a:cubicBezTo>
                  <a:cubicBezTo>
                    <a:pt x="572" y="49"/>
                    <a:pt x="567" y="50"/>
                    <a:pt x="563" y="49"/>
                  </a:cubicBezTo>
                  <a:cubicBezTo>
                    <a:pt x="559" y="49"/>
                    <a:pt x="556" y="52"/>
                    <a:pt x="552" y="53"/>
                  </a:cubicBezTo>
                  <a:cubicBezTo>
                    <a:pt x="548" y="54"/>
                    <a:pt x="544" y="54"/>
                    <a:pt x="540" y="56"/>
                  </a:cubicBezTo>
                  <a:cubicBezTo>
                    <a:pt x="538" y="57"/>
                    <a:pt x="537" y="59"/>
                    <a:pt x="534" y="59"/>
                  </a:cubicBezTo>
                  <a:cubicBezTo>
                    <a:pt x="533" y="60"/>
                    <a:pt x="532" y="61"/>
                    <a:pt x="531" y="61"/>
                  </a:cubicBezTo>
                  <a:cubicBezTo>
                    <a:pt x="529" y="62"/>
                    <a:pt x="525" y="62"/>
                    <a:pt x="522" y="64"/>
                  </a:cubicBezTo>
                  <a:cubicBezTo>
                    <a:pt x="522" y="65"/>
                    <a:pt x="521" y="66"/>
                    <a:pt x="522" y="66"/>
                  </a:cubicBezTo>
                  <a:cubicBezTo>
                    <a:pt x="522" y="67"/>
                    <a:pt x="523" y="67"/>
                    <a:pt x="523" y="67"/>
                  </a:cubicBezTo>
                  <a:cubicBezTo>
                    <a:pt x="524" y="67"/>
                    <a:pt x="523" y="68"/>
                    <a:pt x="522" y="69"/>
                  </a:cubicBezTo>
                  <a:cubicBezTo>
                    <a:pt x="522" y="69"/>
                    <a:pt x="522" y="69"/>
                    <a:pt x="522" y="69"/>
                  </a:cubicBezTo>
                  <a:cubicBezTo>
                    <a:pt x="525" y="73"/>
                    <a:pt x="529" y="68"/>
                    <a:pt x="532" y="70"/>
                  </a:cubicBezTo>
                  <a:cubicBezTo>
                    <a:pt x="534" y="71"/>
                    <a:pt x="535" y="71"/>
                    <a:pt x="538" y="71"/>
                  </a:cubicBezTo>
                  <a:cubicBezTo>
                    <a:pt x="540" y="71"/>
                    <a:pt x="542" y="71"/>
                    <a:pt x="544" y="71"/>
                  </a:cubicBezTo>
                  <a:cubicBezTo>
                    <a:pt x="544" y="71"/>
                    <a:pt x="543" y="71"/>
                    <a:pt x="543" y="71"/>
                  </a:cubicBezTo>
                  <a:cubicBezTo>
                    <a:pt x="541" y="72"/>
                    <a:pt x="539" y="71"/>
                    <a:pt x="537" y="71"/>
                  </a:cubicBezTo>
                  <a:cubicBezTo>
                    <a:pt x="534" y="72"/>
                    <a:pt x="531" y="73"/>
                    <a:pt x="528" y="73"/>
                  </a:cubicBezTo>
                  <a:cubicBezTo>
                    <a:pt x="525" y="73"/>
                    <a:pt x="521" y="73"/>
                    <a:pt x="518" y="73"/>
                  </a:cubicBezTo>
                  <a:cubicBezTo>
                    <a:pt x="517" y="74"/>
                    <a:pt x="516" y="74"/>
                    <a:pt x="516" y="75"/>
                  </a:cubicBezTo>
                  <a:cubicBezTo>
                    <a:pt x="515" y="77"/>
                    <a:pt x="516" y="75"/>
                    <a:pt x="515" y="78"/>
                  </a:cubicBezTo>
                  <a:cubicBezTo>
                    <a:pt x="515" y="80"/>
                    <a:pt x="514" y="80"/>
                    <a:pt x="514" y="81"/>
                  </a:cubicBezTo>
                  <a:cubicBezTo>
                    <a:pt x="513" y="84"/>
                    <a:pt x="521" y="84"/>
                    <a:pt x="523" y="84"/>
                  </a:cubicBezTo>
                  <a:cubicBezTo>
                    <a:pt x="530" y="83"/>
                    <a:pt x="538" y="82"/>
                    <a:pt x="545" y="83"/>
                  </a:cubicBezTo>
                  <a:cubicBezTo>
                    <a:pt x="549" y="84"/>
                    <a:pt x="552" y="84"/>
                    <a:pt x="554" y="87"/>
                  </a:cubicBezTo>
                  <a:cubicBezTo>
                    <a:pt x="555" y="88"/>
                    <a:pt x="555" y="88"/>
                    <a:pt x="556" y="88"/>
                  </a:cubicBezTo>
                  <a:cubicBezTo>
                    <a:pt x="556" y="88"/>
                    <a:pt x="560" y="90"/>
                    <a:pt x="557" y="90"/>
                  </a:cubicBezTo>
                  <a:cubicBezTo>
                    <a:pt x="554" y="91"/>
                    <a:pt x="550" y="91"/>
                    <a:pt x="547" y="90"/>
                  </a:cubicBezTo>
                  <a:cubicBezTo>
                    <a:pt x="544" y="90"/>
                    <a:pt x="541" y="88"/>
                    <a:pt x="539" y="87"/>
                  </a:cubicBezTo>
                  <a:cubicBezTo>
                    <a:pt x="537" y="87"/>
                    <a:pt x="533" y="88"/>
                    <a:pt x="531" y="88"/>
                  </a:cubicBezTo>
                  <a:cubicBezTo>
                    <a:pt x="527" y="88"/>
                    <a:pt x="523" y="87"/>
                    <a:pt x="518" y="87"/>
                  </a:cubicBezTo>
                  <a:cubicBezTo>
                    <a:pt x="516" y="88"/>
                    <a:pt x="509" y="89"/>
                    <a:pt x="508" y="91"/>
                  </a:cubicBezTo>
                  <a:cubicBezTo>
                    <a:pt x="507" y="93"/>
                    <a:pt x="504" y="98"/>
                    <a:pt x="506" y="100"/>
                  </a:cubicBezTo>
                  <a:cubicBezTo>
                    <a:pt x="510" y="103"/>
                    <a:pt x="514" y="104"/>
                    <a:pt x="518" y="104"/>
                  </a:cubicBezTo>
                  <a:cubicBezTo>
                    <a:pt x="522" y="103"/>
                    <a:pt x="524" y="106"/>
                    <a:pt x="522" y="108"/>
                  </a:cubicBezTo>
                  <a:cubicBezTo>
                    <a:pt x="519" y="110"/>
                    <a:pt x="521" y="111"/>
                    <a:pt x="519" y="114"/>
                  </a:cubicBezTo>
                  <a:cubicBezTo>
                    <a:pt x="518" y="116"/>
                    <a:pt x="520" y="117"/>
                    <a:pt x="522" y="118"/>
                  </a:cubicBezTo>
                  <a:cubicBezTo>
                    <a:pt x="524" y="118"/>
                    <a:pt x="527" y="118"/>
                    <a:pt x="529" y="118"/>
                  </a:cubicBezTo>
                  <a:cubicBezTo>
                    <a:pt x="533" y="116"/>
                    <a:pt x="538" y="117"/>
                    <a:pt x="543" y="117"/>
                  </a:cubicBezTo>
                  <a:cubicBezTo>
                    <a:pt x="546" y="118"/>
                    <a:pt x="549" y="117"/>
                    <a:pt x="552" y="116"/>
                  </a:cubicBezTo>
                  <a:cubicBezTo>
                    <a:pt x="555" y="115"/>
                    <a:pt x="558" y="113"/>
                    <a:pt x="561" y="113"/>
                  </a:cubicBezTo>
                  <a:cubicBezTo>
                    <a:pt x="563" y="113"/>
                    <a:pt x="566" y="114"/>
                    <a:pt x="569" y="113"/>
                  </a:cubicBezTo>
                  <a:cubicBezTo>
                    <a:pt x="572" y="112"/>
                    <a:pt x="575" y="113"/>
                    <a:pt x="578" y="111"/>
                  </a:cubicBezTo>
                  <a:cubicBezTo>
                    <a:pt x="578" y="111"/>
                    <a:pt x="579" y="111"/>
                    <a:pt x="579" y="110"/>
                  </a:cubicBezTo>
                  <a:cubicBezTo>
                    <a:pt x="579" y="110"/>
                    <a:pt x="580" y="109"/>
                    <a:pt x="580" y="108"/>
                  </a:cubicBezTo>
                  <a:cubicBezTo>
                    <a:pt x="581" y="107"/>
                    <a:pt x="582" y="107"/>
                    <a:pt x="584" y="107"/>
                  </a:cubicBezTo>
                  <a:cubicBezTo>
                    <a:pt x="584" y="109"/>
                    <a:pt x="584" y="110"/>
                    <a:pt x="584" y="111"/>
                  </a:cubicBezTo>
                  <a:cubicBezTo>
                    <a:pt x="584" y="112"/>
                    <a:pt x="585" y="112"/>
                    <a:pt x="586" y="112"/>
                  </a:cubicBezTo>
                  <a:cubicBezTo>
                    <a:pt x="587" y="112"/>
                    <a:pt x="588" y="113"/>
                    <a:pt x="590" y="113"/>
                  </a:cubicBezTo>
                  <a:cubicBezTo>
                    <a:pt x="591" y="113"/>
                    <a:pt x="590" y="115"/>
                    <a:pt x="591" y="116"/>
                  </a:cubicBezTo>
                  <a:cubicBezTo>
                    <a:pt x="593" y="117"/>
                    <a:pt x="594" y="118"/>
                    <a:pt x="595" y="118"/>
                  </a:cubicBezTo>
                  <a:cubicBezTo>
                    <a:pt x="598" y="118"/>
                    <a:pt x="601" y="120"/>
                    <a:pt x="604" y="119"/>
                  </a:cubicBezTo>
                  <a:cubicBezTo>
                    <a:pt x="609" y="118"/>
                    <a:pt x="616" y="120"/>
                    <a:pt x="621" y="117"/>
                  </a:cubicBezTo>
                  <a:cubicBezTo>
                    <a:pt x="622" y="117"/>
                    <a:pt x="627" y="112"/>
                    <a:pt x="627" y="110"/>
                  </a:cubicBezTo>
                  <a:cubicBezTo>
                    <a:pt x="626" y="107"/>
                    <a:pt x="621" y="109"/>
                    <a:pt x="618" y="109"/>
                  </a:cubicBezTo>
                  <a:cubicBezTo>
                    <a:pt x="618" y="110"/>
                    <a:pt x="613" y="113"/>
                    <a:pt x="614" y="109"/>
                  </a:cubicBezTo>
                  <a:cubicBezTo>
                    <a:pt x="614" y="106"/>
                    <a:pt x="616" y="107"/>
                    <a:pt x="619" y="108"/>
                  </a:cubicBezTo>
                  <a:cubicBezTo>
                    <a:pt x="620" y="108"/>
                    <a:pt x="621" y="108"/>
                    <a:pt x="622" y="107"/>
                  </a:cubicBezTo>
                  <a:cubicBezTo>
                    <a:pt x="624" y="106"/>
                    <a:pt x="626" y="106"/>
                    <a:pt x="628" y="107"/>
                  </a:cubicBezTo>
                  <a:cubicBezTo>
                    <a:pt x="628" y="107"/>
                    <a:pt x="629" y="108"/>
                    <a:pt x="629" y="108"/>
                  </a:cubicBezTo>
                  <a:cubicBezTo>
                    <a:pt x="632" y="107"/>
                    <a:pt x="635" y="110"/>
                    <a:pt x="638" y="108"/>
                  </a:cubicBezTo>
                  <a:cubicBezTo>
                    <a:pt x="641" y="105"/>
                    <a:pt x="642" y="102"/>
                    <a:pt x="638" y="100"/>
                  </a:cubicBezTo>
                  <a:close/>
                  <a:moveTo>
                    <a:pt x="740" y="77"/>
                  </a:moveTo>
                  <a:cubicBezTo>
                    <a:pt x="742" y="77"/>
                    <a:pt x="744" y="76"/>
                    <a:pt x="746" y="75"/>
                  </a:cubicBezTo>
                  <a:cubicBezTo>
                    <a:pt x="750" y="72"/>
                    <a:pt x="750" y="75"/>
                    <a:pt x="753" y="73"/>
                  </a:cubicBezTo>
                  <a:cubicBezTo>
                    <a:pt x="755" y="72"/>
                    <a:pt x="757" y="71"/>
                    <a:pt x="759" y="70"/>
                  </a:cubicBezTo>
                  <a:cubicBezTo>
                    <a:pt x="760" y="70"/>
                    <a:pt x="761" y="70"/>
                    <a:pt x="761" y="69"/>
                  </a:cubicBezTo>
                  <a:cubicBezTo>
                    <a:pt x="763" y="69"/>
                    <a:pt x="766" y="68"/>
                    <a:pt x="767" y="67"/>
                  </a:cubicBezTo>
                  <a:cubicBezTo>
                    <a:pt x="768" y="67"/>
                    <a:pt x="769" y="66"/>
                    <a:pt x="768" y="65"/>
                  </a:cubicBezTo>
                  <a:cubicBezTo>
                    <a:pt x="765" y="59"/>
                    <a:pt x="757" y="62"/>
                    <a:pt x="753" y="57"/>
                  </a:cubicBezTo>
                  <a:cubicBezTo>
                    <a:pt x="751" y="56"/>
                    <a:pt x="747" y="57"/>
                    <a:pt x="745" y="56"/>
                  </a:cubicBezTo>
                  <a:cubicBezTo>
                    <a:pt x="743" y="55"/>
                    <a:pt x="739" y="56"/>
                    <a:pt x="736" y="56"/>
                  </a:cubicBezTo>
                  <a:cubicBezTo>
                    <a:pt x="734" y="56"/>
                    <a:pt x="732" y="56"/>
                    <a:pt x="731" y="57"/>
                  </a:cubicBezTo>
                  <a:cubicBezTo>
                    <a:pt x="731" y="57"/>
                    <a:pt x="731" y="61"/>
                    <a:pt x="730" y="60"/>
                  </a:cubicBezTo>
                  <a:cubicBezTo>
                    <a:pt x="729" y="59"/>
                    <a:pt x="729" y="59"/>
                    <a:pt x="729" y="59"/>
                  </a:cubicBezTo>
                  <a:cubicBezTo>
                    <a:pt x="726" y="59"/>
                    <a:pt x="725" y="61"/>
                    <a:pt x="723" y="63"/>
                  </a:cubicBezTo>
                  <a:cubicBezTo>
                    <a:pt x="721" y="66"/>
                    <a:pt x="717" y="67"/>
                    <a:pt x="715" y="70"/>
                  </a:cubicBezTo>
                  <a:cubicBezTo>
                    <a:pt x="715" y="71"/>
                    <a:pt x="715" y="72"/>
                    <a:pt x="715" y="73"/>
                  </a:cubicBezTo>
                  <a:cubicBezTo>
                    <a:pt x="714" y="75"/>
                    <a:pt x="713" y="75"/>
                    <a:pt x="713" y="76"/>
                  </a:cubicBezTo>
                  <a:cubicBezTo>
                    <a:pt x="712" y="77"/>
                    <a:pt x="713" y="79"/>
                    <a:pt x="711" y="79"/>
                  </a:cubicBezTo>
                  <a:cubicBezTo>
                    <a:pt x="710" y="80"/>
                    <a:pt x="710" y="80"/>
                    <a:pt x="709" y="81"/>
                  </a:cubicBezTo>
                  <a:cubicBezTo>
                    <a:pt x="709" y="81"/>
                    <a:pt x="709" y="82"/>
                    <a:pt x="710" y="82"/>
                  </a:cubicBezTo>
                  <a:cubicBezTo>
                    <a:pt x="711" y="82"/>
                    <a:pt x="710" y="82"/>
                    <a:pt x="712" y="82"/>
                  </a:cubicBezTo>
                  <a:cubicBezTo>
                    <a:pt x="713" y="83"/>
                    <a:pt x="716" y="84"/>
                    <a:pt x="718" y="84"/>
                  </a:cubicBezTo>
                  <a:cubicBezTo>
                    <a:pt x="718" y="84"/>
                    <a:pt x="719" y="83"/>
                    <a:pt x="719" y="83"/>
                  </a:cubicBezTo>
                  <a:cubicBezTo>
                    <a:pt x="722" y="81"/>
                    <a:pt x="724" y="81"/>
                    <a:pt x="727" y="80"/>
                  </a:cubicBezTo>
                  <a:cubicBezTo>
                    <a:pt x="728" y="80"/>
                    <a:pt x="729" y="78"/>
                    <a:pt x="730" y="77"/>
                  </a:cubicBezTo>
                  <a:cubicBezTo>
                    <a:pt x="730" y="76"/>
                    <a:pt x="730" y="75"/>
                    <a:pt x="729" y="75"/>
                  </a:cubicBezTo>
                  <a:cubicBezTo>
                    <a:pt x="730" y="75"/>
                    <a:pt x="731" y="75"/>
                    <a:pt x="732" y="75"/>
                  </a:cubicBezTo>
                  <a:cubicBezTo>
                    <a:pt x="735" y="75"/>
                    <a:pt x="737" y="77"/>
                    <a:pt x="740" y="77"/>
                  </a:cubicBezTo>
                  <a:close/>
                  <a:moveTo>
                    <a:pt x="632" y="117"/>
                  </a:moveTo>
                  <a:cubicBezTo>
                    <a:pt x="631" y="118"/>
                    <a:pt x="630" y="120"/>
                    <a:pt x="630" y="122"/>
                  </a:cubicBezTo>
                  <a:cubicBezTo>
                    <a:pt x="630" y="122"/>
                    <a:pt x="630" y="123"/>
                    <a:pt x="631" y="124"/>
                  </a:cubicBezTo>
                  <a:cubicBezTo>
                    <a:pt x="631" y="124"/>
                    <a:pt x="631" y="125"/>
                    <a:pt x="632" y="124"/>
                  </a:cubicBezTo>
                  <a:cubicBezTo>
                    <a:pt x="632" y="124"/>
                    <a:pt x="632" y="124"/>
                    <a:pt x="632" y="124"/>
                  </a:cubicBezTo>
                  <a:cubicBezTo>
                    <a:pt x="632" y="124"/>
                    <a:pt x="632" y="124"/>
                    <a:pt x="633" y="124"/>
                  </a:cubicBezTo>
                  <a:cubicBezTo>
                    <a:pt x="633" y="123"/>
                    <a:pt x="633" y="123"/>
                    <a:pt x="633" y="123"/>
                  </a:cubicBezTo>
                  <a:cubicBezTo>
                    <a:pt x="633" y="123"/>
                    <a:pt x="634" y="122"/>
                    <a:pt x="635" y="122"/>
                  </a:cubicBezTo>
                  <a:cubicBezTo>
                    <a:pt x="635" y="121"/>
                    <a:pt x="635" y="120"/>
                    <a:pt x="635" y="119"/>
                  </a:cubicBezTo>
                  <a:cubicBezTo>
                    <a:pt x="635" y="119"/>
                    <a:pt x="635" y="118"/>
                    <a:pt x="635" y="117"/>
                  </a:cubicBezTo>
                  <a:cubicBezTo>
                    <a:pt x="634" y="117"/>
                    <a:pt x="633" y="117"/>
                    <a:pt x="632" y="117"/>
                  </a:cubicBezTo>
                  <a:close/>
                  <a:moveTo>
                    <a:pt x="500" y="71"/>
                  </a:moveTo>
                  <a:cubicBezTo>
                    <a:pt x="500" y="71"/>
                    <a:pt x="500" y="71"/>
                    <a:pt x="500" y="71"/>
                  </a:cubicBezTo>
                  <a:cubicBezTo>
                    <a:pt x="505" y="73"/>
                    <a:pt x="511" y="69"/>
                    <a:pt x="515" y="66"/>
                  </a:cubicBezTo>
                  <a:cubicBezTo>
                    <a:pt x="517" y="62"/>
                    <a:pt x="522" y="60"/>
                    <a:pt x="526" y="60"/>
                  </a:cubicBezTo>
                  <a:cubicBezTo>
                    <a:pt x="530" y="60"/>
                    <a:pt x="533" y="57"/>
                    <a:pt x="536" y="55"/>
                  </a:cubicBezTo>
                  <a:cubicBezTo>
                    <a:pt x="540" y="53"/>
                    <a:pt x="546" y="53"/>
                    <a:pt x="550" y="52"/>
                  </a:cubicBezTo>
                  <a:cubicBezTo>
                    <a:pt x="555" y="50"/>
                    <a:pt x="560" y="49"/>
                    <a:pt x="565" y="48"/>
                  </a:cubicBezTo>
                  <a:cubicBezTo>
                    <a:pt x="569" y="48"/>
                    <a:pt x="579" y="48"/>
                    <a:pt x="580" y="42"/>
                  </a:cubicBezTo>
                  <a:cubicBezTo>
                    <a:pt x="580" y="41"/>
                    <a:pt x="581" y="40"/>
                    <a:pt x="580" y="39"/>
                  </a:cubicBezTo>
                  <a:cubicBezTo>
                    <a:pt x="578" y="37"/>
                    <a:pt x="577" y="35"/>
                    <a:pt x="574" y="34"/>
                  </a:cubicBezTo>
                  <a:cubicBezTo>
                    <a:pt x="569" y="32"/>
                    <a:pt x="565" y="34"/>
                    <a:pt x="560" y="32"/>
                  </a:cubicBezTo>
                  <a:cubicBezTo>
                    <a:pt x="557" y="31"/>
                    <a:pt x="552" y="31"/>
                    <a:pt x="548" y="31"/>
                  </a:cubicBezTo>
                  <a:cubicBezTo>
                    <a:pt x="543" y="32"/>
                    <a:pt x="539" y="33"/>
                    <a:pt x="534" y="33"/>
                  </a:cubicBezTo>
                  <a:cubicBezTo>
                    <a:pt x="533" y="33"/>
                    <a:pt x="529" y="34"/>
                    <a:pt x="528" y="36"/>
                  </a:cubicBezTo>
                  <a:cubicBezTo>
                    <a:pt x="527" y="39"/>
                    <a:pt x="528" y="40"/>
                    <a:pt x="524" y="42"/>
                  </a:cubicBezTo>
                  <a:cubicBezTo>
                    <a:pt x="522" y="42"/>
                    <a:pt x="520" y="42"/>
                    <a:pt x="519" y="43"/>
                  </a:cubicBezTo>
                  <a:cubicBezTo>
                    <a:pt x="518" y="44"/>
                    <a:pt x="516" y="44"/>
                    <a:pt x="515" y="45"/>
                  </a:cubicBezTo>
                  <a:cubicBezTo>
                    <a:pt x="514" y="46"/>
                    <a:pt x="512" y="46"/>
                    <a:pt x="511" y="47"/>
                  </a:cubicBezTo>
                  <a:cubicBezTo>
                    <a:pt x="509" y="48"/>
                    <a:pt x="508" y="50"/>
                    <a:pt x="505" y="50"/>
                  </a:cubicBezTo>
                  <a:cubicBezTo>
                    <a:pt x="504" y="50"/>
                    <a:pt x="503" y="50"/>
                    <a:pt x="502" y="51"/>
                  </a:cubicBezTo>
                  <a:cubicBezTo>
                    <a:pt x="499" y="53"/>
                    <a:pt x="495" y="54"/>
                    <a:pt x="491" y="56"/>
                  </a:cubicBezTo>
                  <a:cubicBezTo>
                    <a:pt x="489" y="57"/>
                    <a:pt x="486" y="58"/>
                    <a:pt x="485" y="60"/>
                  </a:cubicBezTo>
                  <a:cubicBezTo>
                    <a:pt x="485" y="61"/>
                    <a:pt x="485" y="61"/>
                    <a:pt x="485" y="61"/>
                  </a:cubicBezTo>
                  <a:cubicBezTo>
                    <a:pt x="486" y="63"/>
                    <a:pt x="488" y="66"/>
                    <a:pt x="485" y="69"/>
                  </a:cubicBezTo>
                  <a:cubicBezTo>
                    <a:pt x="484" y="70"/>
                    <a:pt x="482" y="71"/>
                    <a:pt x="482" y="73"/>
                  </a:cubicBezTo>
                  <a:cubicBezTo>
                    <a:pt x="482" y="73"/>
                    <a:pt x="482" y="74"/>
                    <a:pt x="482" y="74"/>
                  </a:cubicBezTo>
                  <a:cubicBezTo>
                    <a:pt x="486" y="74"/>
                    <a:pt x="490" y="73"/>
                    <a:pt x="494" y="71"/>
                  </a:cubicBezTo>
                  <a:cubicBezTo>
                    <a:pt x="495" y="71"/>
                    <a:pt x="497" y="70"/>
                    <a:pt x="498" y="69"/>
                  </a:cubicBezTo>
                  <a:cubicBezTo>
                    <a:pt x="499" y="69"/>
                    <a:pt x="501" y="68"/>
                    <a:pt x="500" y="69"/>
                  </a:cubicBezTo>
                  <a:cubicBezTo>
                    <a:pt x="500" y="70"/>
                    <a:pt x="500" y="70"/>
                    <a:pt x="500" y="71"/>
                  </a:cubicBezTo>
                  <a:close/>
                  <a:moveTo>
                    <a:pt x="654" y="25"/>
                  </a:moveTo>
                  <a:cubicBezTo>
                    <a:pt x="652" y="25"/>
                    <a:pt x="650" y="26"/>
                    <a:pt x="647" y="25"/>
                  </a:cubicBezTo>
                  <a:cubicBezTo>
                    <a:pt x="646" y="24"/>
                    <a:pt x="645" y="25"/>
                    <a:pt x="644" y="25"/>
                  </a:cubicBezTo>
                  <a:cubicBezTo>
                    <a:pt x="644" y="25"/>
                    <a:pt x="641" y="26"/>
                    <a:pt x="642" y="26"/>
                  </a:cubicBezTo>
                  <a:cubicBezTo>
                    <a:pt x="643" y="23"/>
                    <a:pt x="643" y="25"/>
                    <a:pt x="643" y="23"/>
                  </a:cubicBezTo>
                  <a:cubicBezTo>
                    <a:pt x="643" y="23"/>
                    <a:pt x="643" y="23"/>
                    <a:pt x="643" y="22"/>
                  </a:cubicBezTo>
                  <a:cubicBezTo>
                    <a:pt x="642" y="22"/>
                    <a:pt x="642" y="22"/>
                    <a:pt x="642" y="22"/>
                  </a:cubicBezTo>
                  <a:cubicBezTo>
                    <a:pt x="642" y="22"/>
                    <a:pt x="643" y="22"/>
                    <a:pt x="643" y="21"/>
                  </a:cubicBezTo>
                  <a:cubicBezTo>
                    <a:pt x="643" y="21"/>
                    <a:pt x="643" y="21"/>
                    <a:pt x="643" y="21"/>
                  </a:cubicBezTo>
                  <a:cubicBezTo>
                    <a:pt x="643" y="20"/>
                    <a:pt x="643" y="17"/>
                    <a:pt x="641" y="16"/>
                  </a:cubicBezTo>
                  <a:cubicBezTo>
                    <a:pt x="640" y="16"/>
                    <a:pt x="637" y="16"/>
                    <a:pt x="635" y="16"/>
                  </a:cubicBezTo>
                  <a:cubicBezTo>
                    <a:pt x="636" y="16"/>
                    <a:pt x="636" y="16"/>
                    <a:pt x="636" y="15"/>
                  </a:cubicBezTo>
                  <a:cubicBezTo>
                    <a:pt x="636" y="15"/>
                    <a:pt x="636" y="15"/>
                    <a:pt x="636" y="14"/>
                  </a:cubicBezTo>
                  <a:cubicBezTo>
                    <a:pt x="633" y="13"/>
                    <a:pt x="628" y="14"/>
                    <a:pt x="625" y="15"/>
                  </a:cubicBezTo>
                  <a:cubicBezTo>
                    <a:pt x="624" y="15"/>
                    <a:pt x="624" y="15"/>
                    <a:pt x="624" y="16"/>
                  </a:cubicBezTo>
                  <a:cubicBezTo>
                    <a:pt x="625" y="16"/>
                    <a:pt x="625" y="16"/>
                    <a:pt x="625" y="16"/>
                  </a:cubicBezTo>
                  <a:cubicBezTo>
                    <a:pt x="624" y="16"/>
                    <a:pt x="624" y="16"/>
                    <a:pt x="624" y="16"/>
                  </a:cubicBezTo>
                  <a:cubicBezTo>
                    <a:pt x="621" y="15"/>
                    <a:pt x="615" y="16"/>
                    <a:pt x="612" y="18"/>
                  </a:cubicBezTo>
                  <a:cubicBezTo>
                    <a:pt x="612" y="18"/>
                    <a:pt x="612" y="19"/>
                    <a:pt x="612" y="19"/>
                  </a:cubicBezTo>
                  <a:cubicBezTo>
                    <a:pt x="615" y="18"/>
                    <a:pt x="618" y="18"/>
                    <a:pt x="620" y="19"/>
                  </a:cubicBezTo>
                  <a:cubicBezTo>
                    <a:pt x="619" y="19"/>
                    <a:pt x="617" y="19"/>
                    <a:pt x="616" y="19"/>
                  </a:cubicBezTo>
                  <a:cubicBezTo>
                    <a:pt x="613" y="19"/>
                    <a:pt x="607" y="19"/>
                    <a:pt x="604" y="21"/>
                  </a:cubicBezTo>
                  <a:cubicBezTo>
                    <a:pt x="604" y="22"/>
                    <a:pt x="604" y="22"/>
                    <a:pt x="605" y="22"/>
                  </a:cubicBezTo>
                  <a:cubicBezTo>
                    <a:pt x="607" y="22"/>
                    <a:pt x="610" y="22"/>
                    <a:pt x="612" y="22"/>
                  </a:cubicBezTo>
                  <a:cubicBezTo>
                    <a:pt x="620" y="21"/>
                    <a:pt x="609" y="23"/>
                    <a:pt x="608" y="23"/>
                  </a:cubicBezTo>
                  <a:cubicBezTo>
                    <a:pt x="606" y="23"/>
                    <a:pt x="606" y="22"/>
                    <a:pt x="604" y="22"/>
                  </a:cubicBezTo>
                  <a:cubicBezTo>
                    <a:pt x="603" y="22"/>
                    <a:pt x="599" y="23"/>
                    <a:pt x="599" y="23"/>
                  </a:cubicBezTo>
                  <a:cubicBezTo>
                    <a:pt x="599" y="23"/>
                    <a:pt x="596" y="23"/>
                    <a:pt x="595" y="24"/>
                  </a:cubicBezTo>
                  <a:cubicBezTo>
                    <a:pt x="594" y="26"/>
                    <a:pt x="597" y="28"/>
                    <a:pt x="598" y="27"/>
                  </a:cubicBezTo>
                  <a:cubicBezTo>
                    <a:pt x="601" y="27"/>
                    <a:pt x="601" y="29"/>
                    <a:pt x="604" y="29"/>
                  </a:cubicBezTo>
                  <a:cubicBezTo>
                    <a:pt x="605" y="30"/>
                    <a:pt x="608" y="30"/>
                    <a:pt x="609" y="30"/>
                  </a:cubicBezTo>
                  <a:cubicBezTo>
                    <a:pt x="614" y="31"/>
                    <a:pt x="614" y="26"/>
                    <a:pt x="618" y="29"/>
                  </a:cubicBezTo>
                  <a:cubicBezTo>
                    <a:pt x="620" y="29"/>
                    <a:pt x="621" y="29"/>
                    <a:pt x="623" y="29"/>
                  </a:cubicBezTo>
                  <a:cubicBezTo>
                    <a:pt x="626" y="29"/>
                    <a:pt x="630" y="29"/>
                    <a:pt x="633" y="29"/>
                  </a:cubicBezTo>
                  <a:cubicBezTo>
                    <a:pt x="634" y="29"/>
                    <a:pt x="634" y="29"/>
                    <a:pt x="634" y="29"/>
                  </a:cubicBezTo>
                  <a:cubicBezTo>
                    <a:pt x="634" y="29"/>
                    <a:pt x="633" y="29"/>
                    <a:pt x="633" y="29"/>
                  </a:cubicBezTo>
                  <a:cubicBezTo>
                    <a:pt x="629" y="30"/>
                    <a:pt x="626" y="30"/>
                    <a:pt x="622" y="30"/>
                  </a:cubicBezTo>
                  <a:cubicBezTo>
                    <a:pt x="619" y="29"/>
                    <a:pt x="616" y="30"/>
                    <a:pt x="613" y="30"/>
                  </a:cubicBezTo>
                  <a:cubicBezTo>
                    <a:pt x="611" y="30"/>
                    <a:pt x="608" y="30"/>
                    <a:pt x="606" y="31"/>
                  </a:cubicBezTo>
                  <a:cubicBezTo>
                    <a:pt x="606" y="31"/>
                    <a:pt x="606" y="32"/>
                    <a:pt x="606" y="32"/>
                  </a:cubicBezTo>
                  <a:cubicBezTo>
                    <a:pt x="607" y="38"/>
                    <a:pt x="619" y="36"/>
                    <a:pt x="623" y="36"/>
                  </a:cubicBezTo>
                  <a:cubicBezTo>
                    <a:pt x="627" y="36"/>
                    <a:pt x="631" y="35"/>
                    <a:pt x="635" y="34"/>
                  </a:cubicBezTo>
                  <a:cubicBezTo>
                    <a:pt x="638" y="33"/>
                    <a:pt x="640" y="33"/>
                    <a:pt x="643" y="33"/>
                  </a:cubicBezTo>
                  <a:cubicBezTo>
                    <a:pt x="645" y="33"/>
                    <a:pt x="648" y="32"/>
                    <a:pt x="651" y="32"/>
                  </a:cubicBezTo>
                  <a:cubicBezTo>
                    <a:pt x="651" y="32"/>
                    <a:pt x="651" y="33"/>
                    <a:pt x="651" y="33"/>
                  </a:cubicBezTo>
                  <a:cubicBezTo>
                    <a:pt x="650" y="33"/>
                    <a:pt x="650" y="33"/>
                    <a:pt x="651" y="34"/>
                  </a:cubicBezTo>
                  <a:cubicBezTo>
                    <a:pt x="651" y="34"/>
                    <a:pt x="651" y="34"/>
                    <a:pt x="652" y="34"/>
                  </a:cubicBezTo>
                  <a:cubicBezTo>
                    <a:pt x="653" y="34"/>
                    <a:pt x="657" y="32"/>
                    <a:pt x="657" y="32"/>
                  </a:cubicBezTo>
                  <a:cubicBezTo>
                    <a:pt x="656" y="36"/>
                    <a:pt x="660" y="35"/>
                    <a:pt x="662" y="34"/>
                  </a:cubicBezTo>
                  <a:cubicBezTo>
                    <a:pt x="665" y="34"/>
                    <a:pt x="668" y="34"/>
                    <a:pt x="671" y="34"/>
                  </a:cubicBezTo>
                  <a:cubicBezTo>
                    <a:pt x="673" y="33"/>
                    <a:pt x="676" y="33"/>
                    <a:pt x="678" y="31"/>
                  </a:cubicBezTo>
                  <a:cubicBezTo>
                    <a:pt x="681" y="29"/>
                    <a:pt x="684" y="29"/>
                    <a:pt x="687" y="27"/>
                  </a:cubicBezTo>
                  <a:cubicBezTo>
                    <a:pt x="687" y="26"/>
                    <a:pt x="687" y="26"/>
                    <a:pt x="687" y="26"/>
                  </a:cubicBezTo>
                  <a:cubicBezTo>
                    <a:pt x="687" y="26"/>
                    <a:pt x="686" y="25"/>
                    <a:pt x="686" y="25"/>
                  </a:cubicBezTo>
                  <a:cubicBezTo>
                    <a:pt x="686" y="25"/>
                    <a:pt x="686" y="25"/>
                    <a:pt x="686" y="25"/>
                  </a:cubicBezTo>
                  <a:cubicBezTo>
                    <a:pt x="686" y="25"/>
                    <a:pt x="686" y="25"/>
                    <a:pt x="686" y="25"/>
                  </a:cubicBezTo>
                  <a:cubicBezTo>
                    <a:pt x="689" y="22"/>
                    <a:pt x="687" y="22"/>
                    <a:pt x="684" y="24"/>
                  </a:cubicBezTo>
                  <a:cubicBezTo>
                    <a:pt x="684" y="23"/>
                    <a:pt x="683" y="23"/>
                    <a:pt x="682" y="23"/>
                  </a:cubicBezTo>
                  <a:cubicBezTo>
                    <a:pt x="679" y="23"/>
                    <a:pt x="676" y="26"/>
                    <a:pt x="674" y="24"/>
                  </a:cubicBezTo>
                  <a:cubicBezTo>
                    <a:pt x="673" y="22"/>
                    <a:pt x="670" y="24"/>
                    <a:pt x="668" y="25"/>
                  </a:cubicBezTo>
                  <a:cubicBezTo>
                    <a:pt x="667" y="25"/>
                    <a:pt x="663" y="28"/>
                    <a:pt x="666" y="26"/>
                  </a:cubicBezTo>
                  <a:cubicBezTo>
                    <a:pt x="667" y="25"/>
                    <a:pt x="669" y="24"/>
                    <a:pt x="670" y="23"/>
                  </a:cubicBezTo>
                  <a:cubicBezTo>
                    <a:pt x="671" y="22"/>
                    <a:pt x="671" y="22"/>
                    <a:pt x="670" y="22"/>
                  </a:cubicBezTo>
                  <a:cubicBezTo>
                    <a:pt x="666" y="22"/>
                    <a:pt x="673" y="21"/>
                    <a:pt x="674" y="20"/>
                  </a:cubicBezTo>
                  <a:cubicBezTo>
                    <a:pt x="674" y="19"/>
                    <a:pt x="674" y="19"/>
                    <a:pt x="674" y="19"/>
                  </a:cubicBezTo>
                  <a:cubicBezTo>
                    <a:pt x="672" y="17"/>
                    <a:pt x="676" y="17"/>
                    <a:pt x="676" y="15"/>
                  </a:cubicBezTo>
                  <a:cubicBezTo>
                    <a:pt x="676" y="15"/>
                    <a:pt x="675" y="14"/>
                    <a:pt x="675" y="14"/>
                  </a:cubicBezTo>
                  <a:cubicBezTo>
                    <a:pt x="672" y="13"/>
                    <a:pt x="670" y="15"/>
                    <a:pt x="667" y="16"/>
                  </a:cubicBezTo>
                  <a:cubicBezTo>
                    <a:pt x="664" y="16"/>
                    <a:pt x="661" y="16"/>
                    <a:pt x="659" y="18"/>
                  </a:cubicBezTo>
                  <a:cubicBezTo>
                    <a:pt x="659" y="18"/>
                    <a:pt x="659" y="18"/>
                    <a:pt x="659" y="18"/>
                  </a:cubicBezTo>
                  <a:cubicBezTo>
                    <a:pt x="659" y="19"/>
                    <a:pt x="660" y="19"/>
                    <a:pt x="661" y="20"/>
                  </a:cubicBezTo>
                  <a:cubicBezTo>
                    <a:pt x="663" y="21"/>
                    <a:pt x="657" y="21"/>
                    <a:pt x="657" y="21"/>
                  </a:cubicBezTo>
                  <a:cubicBezTo>
                    <a:pt x="656" y="21"/>
                    <a:pt x="656" y="21"/>
                    <a:pt x="655" y="22"/>
                  </a:cubicBezTo>
                  <a:cubicBezTo>
                    <a:pt x="655" y="22"/>
                    <a:pt x="655" y="22"/>
                    <a:pt x="655" y="22"/>
                  </a:cubicBezTo>
                  <a:cubicBezTo>
                    <a:pt x="655" y="24"/>
                    <a:pt x="655" y="24"/>
                    <a:pt x="656" y="25"/>
                  </a:cubicBezTo>
                  <a:cubicBezTo>
                    <a:pt x="658" y="27"/>
                    <a:pt x="654" y="26"/>
                    <a:pt x="654" y="25"/>
                  </a:cubicBezTo>
                  <a:close/>
                  <a:moveTo>
                    <a:pt x="787" y="24"/>
                  </a:moveTo>
                  <a:cubicBezTo>
                    <a:pt x="784" y="23"/>
                    <a:pt x="782" y="22"/>
                    <a:pt x="779" y="22"/>
                  </a:cubicBezTo>
                  <a:cubicBezTo>
                    <a:pt x="775" y="21"/>
                    <a:pt x="772" y="21"/>
                    <a:pt x="769" y="21"/>
                  </a:cubicBezTo>
                  <a:cubicBezTo>
                    <a:pt x="769" y="21"/>
                    <a:pt x="768" y="21"/>
                    <a:pt x="768" y="22"/>
                  </a:cubicBezTo>
                  <a:cubicBezTo>
                    <a:pt x="768" y="22"/>
                    <a:pt x="768" y="22"/>
                    <a:pt x="768" y="22"/>
                  </a:cubicBezTo>
                  <a:cubicBezTo>
                    <a:pt x="768" y="22"/>
                    <a:pt x="768" y="22"/>
                    <a:pt x="768" y="23"/>
                  </a:cubicBezTo>
                  <a:cubicBezTo>
                    <a:pt x="771" y="25"/>
                    <a:pt x="777" y="26"/>
                    <a:pt x="780" y="26"/>
                  </a:cubicBezTo>
                  <a:cubicBezTo>
                    <a:pt x="783" y="27"/>
                    <a:pt x="788" y="29"/>
                    <a:pt x="791" y="27"/>
                  </a:cubicBezTo>
                  <a:cubicBezTo>
                    <a:pt x="791" y="27"/>
                    <a:pt x="791" y="27"/>
                    <a:pt x="791" y="27"/>
                  </a:cubicBezTo>
                  <a:cubicBezTo>
                    <a:pt x="791" y="27"/>
                    <a:pt x="791" y="27"/>
                    <a:pt x="791" y="27"/>
                  </a:cubicBezTo>
                  <a:cubicBezTo>
                    <a:pt x="792" y="27"/>
                    <a:pt x="792" y="26"/>
                    <a:pt x="792" y="26"/>
                  </a:cubicBezTo>
                  <a:cubicBezTo>
                    <a:pt x="791" y="25"/>
                    <a:pt x="791" y="25"/>
                    <a:pt x="790" y="25"/>
                  </a:cubicBezTo>
                  <a:cubicBezTo>
                    <a:pt x="789" y="25"/>
                    <a:pt x="788" y="24"/>
                    <a:pt x="787" y="24"/>
                  </a:cubicBezTo>
                  <a:close/>
                  <a:moveTo>
                    <a:pt x="741" y="14"/>
                  </a:moveTo>
                  <a:cubicBezTo>
                    <a:pt x="740" y="13"/>
                    <a:pt x="739" y="13"/>
                    <a:pt x="738" y="13"/>
                  </a:cubicBezTo>
                  <a:cubicBezTo>
                    <a:pt x="737" y="12"/>
                    <a:pt x="734" y="12"/>
                    <a:pt x="733" y="13"/>
                  </a:cubicBezTo>
                  <a:cubicBezTo>
                    <a:pt x="732" y="14"/>
                    <a:pt x="734" y="15"/>
                    <a:pt x="734" y="15"/>
                  </a:cubicBezTo>
                  <a:cubicBezTo>
                    <a:pt x="735" y="15"/>
                    <a:pt x="736" y="16"/>
                    <a:pt x="737" y="16"/>
                  </a:cubicBezTo>
                  <a:cubicBezTo>
                    <a:pt x="738" y="17"/>
                    <a:pt x="739" y="16"/>
                    <a:pt x="740" y="15"/>
                  </a:cubicBezTo>
                  <a:cubicBezTo>
                    <a:pt x="741" y="16"/>
                    <a:pt x="742" y="16"/>
                    <a:pt x="743" y="16"/>
                  </a:cubicBezTo>
                  <a:cubicBezTo>
                    <a:pt x="743" y="15"/>
                    <a:pt x="743" y="15"/>
                    <a:pt x="743" y="15"/>
                  </a:cubicBezTo>
                  <a:cubicBezTo>
                    <a:pt x="742" y="14"/>
                    <a:pt x="741" y="14"/>
                    <a:pt x="741" y="14"/>
                  </a:cubicBezTo>
                  <a:close/>
                  <a:moveTo>
                    <a:pt x="755" y="40"/>
                  </a:moveTo>
                  <a:cubicBezTo>
                    <a:pt x="755" y="41"/>
                    <a:pt x="756" y="41"/>
                    <a:pt x="756" y="40"/>
                  </a:cubicBezTo>
                  <a:cubicBezTo>
                    <a:pt x="757" y="40"/>
                    <a:pt x="757" y="39"/>
                    <a:pt x="757" y="38"/>
                  </a:cubicBezTo>
                  <a:cubicBezTo>
                    <a:pt x="757" y="38"/>
                    <a:pt x="757" y="37"/>
                    <a:pt x="757" y="37"/>
                  </a:cubicBezTo>
                  <a:cubicBezTo>
                    <a:pt x="757" y="36"/>
                    <a:pt x="757" y="36"/>
                    <a:pt x="757" y="36"/>
                  </a:cubicBezTo>
                  <a:cubicBezTo>
                    <a:pt x="757" y="35"/>
                    <a:pt x="756" y="35"/>
                    <a:pt x="756" y="35"/>
                  </a:cubicBezTo>
                  <a:cubicBezTo>
                    <a:pt x="755" y="35"/>
                    <a:pt x="755" y="36"/>
                    <a:pt x="755" y="37"/>
                  </a:cubicBezTo>
                  <a:cubicBezTo>
                    <a:pt x="755" y="37"/>
                    <a:pt x="755" y="37"/>
                    <a:pt x="755" y="37"/>
                  </a:cubicBezTo>
                  <a:cubicBezTo>
                    <a:pt x="755" y="37"/>
                    <a:pt x="754" y="38"/>
                    <a:pt x="754" y="39"/>
                  </a:cubicBezTo>
                  <a:cubicBezTo>
                    <a:pt x="754" y="39"/>
                    <a:pt x="754" y="40"/>
                    <a:pt x="755" y="40"/>
                  </a:cubicBezTo>
                  <a:close/>
                  <a:moveTo>
                    <a:pt x="716" y="52"/>
                  </a:moveTo>
                  <a:cubicBezTo>
                    <a:pt x="716" y="52"/>
                    <a:pt x="716" y="52"/>
                    <a:pt x="716" y="52"/>
                  </a:cubicBezTo>
                  <a:cubicBezTo>
                    <a:pt x="713" y="52"/>
                    <a:pt x="711" y="52"/>
                    <a:pt x="708" y="52"/>
                  </a:cubicBezTo>
                  <a:cubicBezTo>
                    <a:pt x="706" y="51"/>
                    <a:pt x="704" y="51"/>
                    <a:pt x="702" y="52"/>
                  </a:cubicBezTo>
                  <a:cubicBezTo>
                    <a:pt x="701" y="52"/>
                    <a:pt x="701" y="53"/>
                    <a:pt x="701" y="53"/>
                  </a:cubicBezTo>
                  <a:cubicBezTo>
                    <a:pt x="703" y="54"/>
                    <a:pt x="704" y="54"/>
                    <a:pt x="706" y="54"/>
                  </a:cubicBezTo>
                  <a:cubicBezTo>
                    <a:pt x="708" y="54"/>
                    <a:pt x="710" y="54"/>
                    <a:pt x="712" y="54"/>
                  </a:cubicBezTo>
                  <a:cubicBezTo>
                    <a:pt x="713" y="54"/>
                    <a:pt x="718" y="55"/>
                    <a:pt x="717" y="53"/>
                  </a:cubicBezTo>
                  <a:cubicBezTo>
                    <a:pt x="717" y="52"/>
                    <a:pt x="717" y="52"/>
                    <a:pt x="716" y="52"/>
                  </a:cubicBezTo>
                  <a:close/>
                  <a:moveTo>
                    <a:pt x="699" y="1"/>
                  </a:moveTo>
                  <a:cubicBezTo>
                    <a:pt x="695" y="1"/>
                    <a:pt x="692" y="1"/>
                    <a:pt x="689" y="1"/>
                  </a:cubicBezTo>
                  <a:cubicBezTo>
                    <a:pt x="685" y="1"/>
                    <a:pt x="682" y="0"/>
                    <a:pt x="678" y="1"/>
                  </a:cubicBezTo>
                  <a:cubicBezTo>
                    <a:pt x="678" y="1"/>
                    <a:pt x="678" y="1"/>
                    <a:pt x="678" y="1"/>
                  </a:cubicBezTo>
                  <a:cubicBezTo>
                    <a:pt x="678" y="1"/>
                    <a:pt x="678" y="1"/>
                    <a:pt x="678" y="1"/>
                  </a:cubicBezTo>
                  <a:cubicBezTo>
                    <a:pt x="677" y="1"/>
                    <a:pt x="677" y="2"/>
                    <a:pt x="678" y="2"/>
                  </a:cubicBezTo>
                  <a:cubicBezTo>
                    <a:pt x="679" y="2"/>
                    <a:pt x="686" y="1"/>
                    <a:pt x="687" y="3"/>
                  </a:cubicBezTo>
                  <a:cubicBezTo>
                    <a:pt x="687" y="4"/>
                    <a:pt x="692" y="5"/>
                    <a:pt x="691" y="4"/>
                  </a:cubicBezTo>
                  <a:cubicBezTo>
                    <a:pt x="693" y="6"/>
                    <a:pt x="701" y="6"/>
                    <a:pt x="703" y="4"/>
                  </a:cubicBezTo>
                  <a:cubicBezTo>
                    <a:pt x="704" y="4"/>
                    <a:pt x="703" y="2"/>
                    <a:pt x="703" y="2"/>
                  </a:cubicBezTo>
                  <a:cubicBezTo>
                    <a:pt x="702" y="0"/>
                    <a:pt x="700" y="0"/>
                    <a:pt x="699" y="1"/>
                  </a:cubicBezTo>
                  <a:close/>
                  <a:moveTo>
                    <a:pt x="774" y="12"/>
                  </a:moveTo>
                  <a:cubicBezTo>
                    <a:pt x="772" y="12"/>
                    <a:pt x="771" y="12"/>
                    <a:pt x="770" y="13"/>
                  </a:cubicBezTo>
                  <a:cubicBezTo>
                    <a:pt x="769" y="14"/>
                    <a:pt x="769" y="16"/>
                    <a:pt x="768" y="16"/>
                  </a:cubicBezTo>
                  <a:cubicBezTo>
                    <a:pt x="766" y="17"/>
                    <a:pt x="768" y="19"/>
                    <a:pt x="769" y="19"/>
                  </a:cubicBezTo>
                  <a:cubicBezTo>
                    <a:pt x="770" y="21"/>
                    <a:pt x="773" y="21"/>
                    <a:pt x="775" y="21"/>
                  </a:cubicBezTo>
                  <a:cubicBezTo>
                    <a:pt x="777" y="21"/>
                    <a:pt x="779" y="22"/>
                    <a:pt x="781" y="22"/>
                  </a:cubicBezTo>
                  <a:cubicBezTo>
                    <a:pt x="784" y="22"/>
                    <a:pt x="785" y="22"/>
                    <a:pt x="787" y="20"/>
                  </a:cubicBezTo>
                  <a:cubicBezTo>
                    <a:pt x="788" y="20"/>
                    <a:pt x="789" y="19"/>
                    <a:pt x="788" y="18"/>
                  </a:cubicBezTo>
                  <a:cubicBezTo>
                    <a:pt x="789" y="18"/>
                    <a:pt x="789" y="18"/>
                    <a:pt x="789" y="17"/>
                  </a:cubicBezTo>
                  <a:cubicBezTo>
                    <a:pt x="789" y="15"/>
                    <a:pt x="783" y="14"/>
                    <a:pt x="782" y="14"/>
                  </a:cubicBezTo>
                  <a:cubicBezTo>
                    <a:pt x="779" y="13"/>
                    <a:pt x="777" y="11"/>
                    <a:pt x="774" y="12"/>
                  </a:cubicBezTo>
                  <a:close/>
                  <a:moveTo>
                    <a:pt x="738" y="40"/>
                  </a:moveTo>
                  <a:cubicBezTo>
                    <a:pt x="739" y="40"/>
                    <a:pt x="740" y="40"/>
                    <a:pt x="741" y="40"/>
                  </a:cubicBezTo>
                  <a:cubicBezTo>
                    <a:pt x="741" y="40"/>
                    <a:pt x="743" y="40"/>
                    <a:pt x="743" y="39"/>
                  </a:cubicBezTo>
                  <a:cubicBezTo>
                    <a:pt x="744" y="39"/>
                    <a:pt x="743" y="38"/>
                    <a:pt x="743" y="38"/>
                  </a:cubicBezTo>
                  <a:cubicBezTo>
                    <a:pt x="742" y="37"/>
                    <a:pt x="741" y="38"/>
                    <a:pt x="741" y="38"/>
                  </a:cubicBezTo>
                  <a:cubicBezTo>
                    <a:pt x="740" y="38"/>
                    <a:pt x="739" y="38"/>
                    <a:pt x="738" y="38"/>
                  </a:cubicBezTo>
                  <a:cubicBezTo>
                    <a:pt x="738" y="38"/>
                    <a:pt x="738" y="38"/>
                    <a:pt x="738" y="38"/>
                  </a:cubicBezTo>
                  <a:cubicBezTo>
                    <a:pt x="737" y="38"/>
                    <a:pt x="736" y="38"/>
                    <a:pt x="736" y="39"/>
                  </a:cubicBezTo>
                  <a:cubicBezTo>
                    <a:pt x="736" y="40"/>
                    <a:pt x="736" y="40"/>
                    <a:pt x="737" y="40"/>
                  </a:cubicBezTo>
                  <a:cubicBezTo>
                    <a:pt x="737" y="41"/>
                    <a:pt x="738" y="40"/>
                    <a:pt x="738" y="40"/>
                  </a:cubicBezTo>
                  <a:close/>
                  <a:moveTo>
                    <a:pt x="795" y="34"/>
                  </a:moveTo>
                  <a:cubicBezTo>
                    <a:pt x="793" y="35"/>
                    <a:pt x="794" y="36"/>
                    <a:pt x="795" y="37"/>
                  </a:cubicBezTo>
                  <a:cubicBezTo>
                    <a:pt x="795" y="37"/>
                    <a:pt x="795" y="37"/>
                    <a:pt x="795" y="37"/>
                  </a:cubicBezTo>
                  <a:cubicBezTo>
                    <a:pt x="795" y="37"/>
                    <a:pt x="796" y="38"/>
                    <a:pt x="796" y="38"/>
                  </a:cubicBezTo>
                  <a:cubicBezTo>
                    <a:pt x="796" y="39"/>
                    <a:pt x="797" y="39"/>
                    <a:pt x="798" y="39"/>
                  </a:cubicBezTo>
                  <a:cubicBezTo>
                    <a:pt x="799" y="39"/>
                    <a:pt x="800" y="37"/>
                    <a:pt x="799" y="36"/>
                  </a:cubicBezTo>
                  <a:cubicBezTo>
                    <a:pt x="799" y="36"/>
                    <a:pt x="798" y="36"/>
                    <a:pt x="797" y="35"/>
                  </a:cubicBezTo>
                  <a:cubicBezTo>
                    <a:pt x="796" y="35"/>
                    <a:pt x="796" y="34"/>
                    <a:pt x="795" y="34"/>
                  </a:cubicBezTo>
                  <a:close/>
                  <a:moveTo>
                    <a:pt x="755" y="28"/>
                  </a:moveTo>
                  <a:cubicBezTo>
                    <a:pt x="755" y="29"/>
                    <a:pt x="755" y="29"/>
                    <a:pt x="756" y="29"/>
                  </a:cubicBezTo>
                  <a:cubicBezTo>
                    <a:pt x="758" y="29"/>
                    <a:pt x="759" y="30"/>
                    <a:pt x="760" y="31"/>
                  </a:cubicBezTo>
                  <a:cubicBezTo>
                    <a:pt x="760" y="31"/>
                    <a:pt x="760" y="33"/>
                    <a:pt x="760" y="33"/>
                  </a:cubicBezTo>
                  <a:cubicBezTo>
                    <a:pt x="763" y="35"/>
                    <a:pt x="768" y="36"/>
                    <a:pt x="772" y="36"/>
                  </a:cubicBezTo>
                  <a:cubicBezTo>
                    <a:pt x="775" y="36"/>
                    <a:pt x="774" y="38"/>
                    <a:pt x="775" y="40"/>
                  </a:cubicBezTo>
                  <a:cubicBezTo>
                    <a:pt x="776" y="42"/>
                    <a:pt x="772" y="42"/>
                    <a:pt x="771" y="43"/>
                  </a:cubicBezTo>
                  <a:cubicBezTo>
                    <a:pt x="769" y="45"/>
                    <a:pt x="765" y="47"/>
                    <a:pt x="766" y="51"/>
                  </a:cubicBezTo>
                  <a:cubicBezTo>
                    <a:pt x="767" y="53"/>
                    <a:pt x="768" y="55"/>
                    <a:pt x="770" y="55"/>
                  </a:cubicBezTo>
                  <a:cubicBezTo>
                    <a:pt x="773" y="55"/>
                    <a:pt x="774" y="57"/>
                    <a:pt x="776" y="58"/>
                  </a:cubicBezTo>
                  <a:cubicBezTo>
                    <a:pt x="779" y="59"/>
                    <a:pt x="782" y="58"/>
                    <a:pt x="785" y="58"/>
                  </a:cubicBezTo>
                  <a:cubicBezTo>
                    <a:pt x="788" y="59"/>
                    <a:pt x="786" y="60"/>
                    <a:pt x="786" y="61"/>
                  </a:cubicBezTo>
                  <a:cubicBezTo>
                    <a:pt x="787" y="61"/>
                    <a:pt x="788" y="61"/>
                    <a:pt x="789" y="62"/>
                  </a:cubicBezTo>
                  <a:cubicBezTo>
                    <a:pt x="790" y="62"/>
                    <a:pt x="793" y="64"/>
                    <a:pt x="795" y="64"/>
                  </a:cubicBezTo>
                  <a:cubicBezTo>
                    <a:pt x="798" y="64"/>
                    <a:pt x="800" y="65"/>
                    <a:pt x="803" y="65"/>
                  </a:cubicBezTo>
                  <a:cubicBezTo>
                    <a:pt x="806" y="65"/>
                    <a:pt x="809" y="64"/>
                    <a:pt x="811" y="66"/>
                  </a:cubicBezTo>
                  <a:cubicBezTo>
                    <a:pt x="813" y="67"/>
                    <a:pt x="816" y="67"/>
                    <a:pt x="819" y="67"/>
                  </a:cubicBezTo>
                  <a:cubicBezTo>
                    <a:pt x="821" y="68"/>
                    <a:pt x="825" y="68"/>
                    <a:pt x="827" y="66"/>
                  </a:cubicBezTo>
                  <a:cubicBezTo>
                    <a:pt x="828" y="66"/>
                    <a:pt x="828" y="66"/>
                    <a:pt x="827" y="67"/>
                  </a:cubicBezTo>
                  <a:cubicBezTo>
                    <a:pt x="826" y="68"/>
                    <a:pt x="826" y="68"/>
                    <a:pt x="826" y="69"/>
                  </a:cubicBezTo>
                  <a:cubicBezTo>
                    <a:pt x="826" y="69"/>
                    <a:pt x="826" y="69"/>
                    <a:pt x="826" y="70"/>
                  </a:cubicBezTo>
                  <a:cubicBezTo>
                    <a:pt x="827" y="70"/>
                    <a:pt x="827" y="70"/>
                    <a:pt x="828" y="70"/>
                  </a:cubicBezTo>
                  <a:cubicBezTo>
                    <a:pt x="830" y="71"/>
                    <a:pt x="832" y="72"/>
                    <a:pt x="833" y="72"/>
                  </a:cubicBezTo>
                  <a:cubicBezTo>
                    <a:pt x="835" y="72"/>
                    <a:pt x="837" y="72"/>
                    <a:pt x="840" y="72"/>
                  </a:cubicBezTo>
                  <a:cubicBezTo>
                    <a:pt x="843" y="71"/>
                    <a:pt x="846" y="73"/>
                    <a:pt x="849" y="72"/>
                  </a:cubicBezTo>
                  <a:cubicBezTo>
                    <a:pt x="851" y="71"/>
                    <a:pt x="850" y="70"/>
                    <a:pt x="852" y="71"/>
                  </a:cubicBezTo>
                  <a:cubicBezTo>
                    <a:pt x="853" y="71"/>
                    <a:pt x="854" y="71"/>
                    <a:pt x="855" y="70"/>
                  </a:cubicBezTo>
                  <a:cubicBezTo>
                    <a:pt x="856" y="70"/>
                    <a:pt x="856" y="69"/>
                    <a:pt x="856" y="69"/>
                  </a:cubicBezTo>
                  <a:cubicBezTo>
                    <a:pt x="856" y="67"/>
                    <a:pt x="857" y="66"/>
                    <a:pt x="857" y="65"/>
                  </a:cubicBezTo>
                  <a:cubicBezTo>
                    <a:pt x="857" y="63"/>
                    <a:pt x="856" y="62"/>
                    <a:pt x="854" y="61"/>
                  </a:cubicBezTo>
                  <a:cubicBezTo>
                    <a:pt x="852" y="60"/>
                    <a:pt x="850" y="60"/>
                    <a:pt x="848" y="58"/>
                  </a:cubicBezTo>
                  <a:cubicBezTo>
                    <a:pt x="847" y="58"/>
                    <a:pt x="847" y="57"/>
                    <a:pt x="846" y="56"/>
                  </a:cubicBezTo>
                  <a:cubicBezTo>
                    <a:pt x="843" y="55"/>
                    <a:pt x="840" y="56"/>
                    <a:pt x="837" y="55"/>
                  </a:cubicBezTo>
                  <a:cubicBezTo>
                    <a:pt x="833" y="55"/>
                    <a:pt x="830" y="54"/>
                    <a:pt x="826" y="54"/>
                  </a:cubicBezTo>
                  <a:cubicBezTo>
                    <a:pt x="822" y="54"/>
                    <a:pt x="819" y="53"/>
                    <a:pt x="815" y="53"/>
                  </a:cubicBezTo>
                  <a:cubicBezTo>
                    <a:pt x="811" y="54"/>
                    <a:pt x="808" y="53"/>
                    <a:pt x="805" y="50"/>
                  </a:cubicBezTo>
                  <a:cubicBezTo>
                    <a:pt x="803" y="49"/>
                    <a:pt x="798" y="51"/>
                    <a:pt x="798" y="48"/>
                  </a:cubicBezTo>
                  <a:cubicBezTo>
                    <a:pt x="797" y="47"/>
                    <a:pt x="796" y="47"/>
                    <a:pt x="795" y="47"/>
                  </a:cubicBezTo>
                  <a:cubicBezTo>
                    <a:pt x="793" y="47"/>
                    <a:pt x="791" y="45"/>
                    <a:pt x="789" y="44"/>
                  </a:cubicBezTo>
                  <a:cubicBezTo>
                    <a:pt x="787" y="43"/>
                    <a:pt x="787" y="41"/>
                    <a:pt x="787" y="40"/>
                  </a:cubicBezTo>
                  <a:cubicBezTo>
                    <a:pt x="790" y="42"/>
                    <a:pt x="793" y="44"/>
                    <a:pt x="798" y="43"/>
                  </a:cubicBezTo>
                  <a:cubicBezTo>
                    <a:pt x="798" y="43"/>
                    <a:pt x="798" y="43"/>
                    <a:pt x="798" y="43"/>
                  </a:cubicBezTo>
                  <a:cubicBezTo>
                    <a:pt x="798" y="41"/>
                    <a:pt x="796" y="39"/>
                    <a:pt x="795" y="39"/>
                  </a:cubicBezTo>
                  <a:cubicBezTo>
                    <a:pt x="792" y="38"/>
                    <a:pt x="794" y="37"/>
                    <a:pt x="793" y="36"/>
                  </a:cubicBezTo>
                  <a:cubicBezTo>
                    <a:pt x="792" y="35"/>
                    <a:pt x="791" y="34"/>
                    <a:pt x="789" y="34"/>
                  </a:cubicBezTo>
                  <a:cubicBezTo>
                    <a:pt x="788" y="33"/>
                    <a:pt x="785" y="34"/>
                    <a:pt x="783" y="34"/>
                  </a:cubicBezTo>
                  <a:cubicBezTo>
                    <a:pt x="780" y="34"/>
                    <a:pt x="779" y="33"/>
                    <a:pt x="777" y="30"/>
                  </a:cubicBezTo>
                  <a:cubicBezTo>
                    <a:pt x="777" y="29"/>
                    <a:pt x="775" y="29"/>
                    <a:pt x="775" y="29"/>
                  </a:cubicBezTo>
                  <a:cubicBezTo>
                    <a:pt x="772" y="28"/>
                    <a:pt x="769" y="27"/>
                    <a:pt x="767" y="26"/>
                  </a:cubicBezTo>
                  <a:cubicBezTo>
                    <a:pt x="766" y="26"/>
                    <a:pt x="752" y="24"/>
                    <a:pt x="755" y="28"/>
                  </a:cubicBezTo>
                  <a:close/>
                  <a:moveTo>
                    <a:pt x="803" y="33"/>
                  </a:moveTo>
                  <a:cubicBezTo>
                    <a:pt x="804" y="33"/>
                    <a:pt x="806" y="33"/>
                    <a:pt x="807" y="33"/>
                  </a:cubicBezTo>
                  <a:cubicBezTo>
                    <a:pt x="809" y="31"/>
                    <a:pt x="807" y="30"/>
                    <a:pt x="805" y="30"/>
                  </a:cubicBezTo>
                  <a:cubicBezTo>
                    <a:pt x="805" y="30"/>
                    <a:pt x="805" y="30"/>
                    <a:pt x="805" y="30"/>
                  </a:cubicBezTo>
                  <a:cubicBezTo>
                    <a:pt x="803" y="30"/>
                    <a:pt x="801" y="29"/>
                    <a:pt x="799" y="29"/>
                  </a:cubicBezTo>
                  <a:cubicBezTo>
                    <a:pt x="797" y="30"/>
                    <a:pt x="798" y="32"/>
                    <a:pt x="799" y="32"/>
                  </a:cubicBezTo>
                  <a:cubicBezTo>
                    <a:pt x="801" y="33"/>
                    <a:pt x="802" y="33"/>
                    <a:pt x="803" y="33"/>
                  </a:cubicBezTo>
                  <a:close/>
                  <a:moveTo>
                    <a:pt x="861" y="90"/>
                  </a:moveTo>
                  <a:cubicBezTo>
                    <a:pt x="856" y="87"/>
                    <a:pt x="852" y="85"/>
                    <a:pt x="846" y="84"/>
                  </a:cubicBezTo>
                  <a:cubicBezTo>
                    <a:pt x="843" y="84"/>
                    <a:pt x="840" y="79"/>
                    <a:pt x="837" y="80"/>
                  </a:cubicBezTo>
                  <a:cubicBezTo>
                    <a:pt x="835" y="81"/>
                    <a:pt x="835" y="83"/>
                    <a:pt x="834" y="84"/>
                  </a:cubicBezTo>
                  <a:cubicBezTo>
                    <a:pt x="832" y="84"/>
                    <a:pt x="833" y="85"/>
                    <a:pt x="833" y="86"/>
                  </a:cubicBezTo>
                  <a:cubicBezTo>
                    <a:pt x="833" y="87"/>
                    <a:pt x="835" y="87"/>
                    <a:pt x="835" y="87"/>
                  </a:cubicBezTo>
                  <a:cubicBezTo>
                    <a:pt x="838" y="88"/>
                    <a:pt x="835" y="91"/>
                    <a:pt x="835" y="92"/>
                  </a:cubicBezTo>
                  <a:cubicBezTo>
                    <a:pt x="836" y="98"/>
                    <a:pt x="842" y="97"/>
                    <a:pt x="846" y="97"/>
                  </a:cubicBezTo>
                  <a:cubicBezTo>
                    <a:pt x="850" y="97"/>
                    <a:pt x="855" y="99"/>
                    <a:pt x="858" y="100"/>
                  </a:cubicBezTo>
                  <a:cubicBezTo>
                    <a:pt x="859" y="100"/>
                    <a:pt x="862" y="102"/>
                    <a:pt x="863" y="101"/>
                  </a:cubicBezTo>
                  <a:cubicBezTo>
                    <a:pt x="866" y="100"/>
                    <a:pt x="864" y="97"/>
                    <a:pt x="862" y="94"/>
                  </a:cubicBezTo>
                  <a:cubicBezTo>
                    <a:pt x="863" y="93"/>
                    <a:pt x="863" y="91"/>
                    <a:pt x="861" y="90"/>
                  </a:cubicBezTo>
                  <a:close/>
                  <a:moveTo>
                    <a:pt x="757" y="46"/>
                  </a:moveTo>
                  <a:cubicBezTo>
                    <a:pt x="759" y="43"/>
                    <a:pt x="756" y="44"/>
                    <a:pt x="755" y="42"/>
                  </a:cubicBezTo>
                  <a:cubicBezTo>
                    <a:pt x="752" y="38"/>
                    <a:pt x="750" y="40"/>
                    <a:pt x="746" y="40"/>
                  </a:cubicBezTo>
                  <a:cubicBezTo>
                    <a:pt x="744" y="40"/>
                    <a:pt x="744" y="41"/>
                    <a:pt x="742" y="41"/>
                  </a:cubicBezTo>
                  <a:cubicBezTo>
                    <a:pt x="741" y="42"/>
                    <a:pt x="740" y="42"/>
                    <a:pt x="740" y="43"/>
                  </a:cubicBezTo>
                  <a:cubicBezTo>
                    <a:pt x="740" y="43"/>
                    <a:pt x="740" y="43"/>
                    <a:pt x="740" y="43"/>
                  </a:cubicBezTo>
                  <a:cubicBezTo>
                    <a:pt x="739" y="43"/>
                    <a:pt x="738" y="43"/>
                    <a:pt x="737" y="43"/>
                  </a:cubicBezTo>
                  <a:cubicBezTo>
                    <a:pt x="736" y="43"/>
                    <a:pt x="735" y="43"/>
                    <a:pt x="735" y="44"/>
                  </a:cubicBezTo>
                  <a:cubicBezTo>
                    <a:pt x="734" y="46"/>
                    <a:pt x="738" y="47"/>
                    <a:pt x="739" y="48"/>
                  </a:cubicBezTo>
                  <a:cubicBezTo>
                    <a:pt x="740" y="49"/>
                    <a:pt x="743" y="48"/>
                    <a:pt x="743" y="50"/>
                  </a:cubicBezTo>
                  <a:cubicBezTo>
                    <a:pt x="744" y="51"/>
                    <a:pt x="744" y="51"/>
                    <a:pt x="746" y="51"/>
                  </a:cubicBezTo>
                  <a:cubicBezTo>
                    <a:pt x="749" y="52"/>
                    <a:pt x="751" y="54"/>
                    <a:pt x="755" y="52"/>
                  </a:cubicBezTo>
                  <a:cubicBezTo>
                    <a:pt x="755" y="51"/>
                    <a:pt x="755" y="51"/>
                    <a:pt x="755" y="50"/>
                  </a:cubicBezTo>
                  <a:cubicBezTo>
                    <a:pt x="755" y="48"/>
                    <a:pt x="756" y="48"/>
                    <a:pt x="757" y="46"/>
                  </a:cubicBezTo>
                  <a:close/>
                  <a:moveTo>
                    <a:pt x="835" y="149"/>
                  </a:moveTo>
                  <a:cubicBezTo>
                    <a:pt x="835" y="151"/>
                    <a:pt x="838" y="152"/>
                    <a:pt x="840" y="152"/>
                  </a:cubicBezTo>
                  <a:cubicBezTo>
                    <a:pt x="842" y="151"/>
                    <a:pt x="840" y="147"/>
                    <a:pt x="839" y="146"/>
                  </a:cubicBezTo>
                  <a:cubicBezTo>
                    <a:pt x="839" y="145"/>
                    <a:pt x="838" y="145"/>
                    <a:pt x="836" y="145"/>
                  </a:cubicBezTo>
                  <a:cubicBezTo>
                    <a:pt x="835" y="145"/>
                    <a:pt x="835" y="146"/>
                    <a:pt x="834" y="147"/>
                  </a:cubicBezTo>
                  <a:cubicBezTo>
                    <a:pt x="834" y="147"/>
                    <a:pt x="834" y="147"/>
                    <a:pt x="835" y="148"/>
                  </a:cubicBezTo>
                  <a:cubicBezTo>
                    <a:pt x="834" y="148"/>
                    <a:pt x="834" y="148"/>
                    <a:pt x="835" y="149"/>
                  </a:cubicBezTo>
                  <a:close/>
                  <a:moveTo>
                    <a:pt x="198" y="346"/>
                  </a:moveTo>
                  <a:cubicBezTo>
                    <a:pt x="198" y="346"/>
                    <a:pt x="198" y="346"/>
                    <a:pt x="199" y="346"/>
                  </a:cubicBezTo>
                  <a:cubicBezTo>
                    <a:pt x="200" y="345"/>
                    <a:pt x="200" y="344"/>
                    <a:pt x="201" y="342"/>
                  </a:cubicBezTo>
                  <a:cubicBezTo>
                    <a:pt x="201" y="341"/>
                    <a:pt x="201" y="339"/>
                    <a:pt x="202" y="338"/>
                  </a:cubicBezTo>
                  <a:cubicBezTo>
                    <a:pt x="203" y="337"/>
                    <a:pt x="203" y="338"/>
                    <a:pt x="203" y="339"/>
                  </a:cubicBezTo>
                  <a:cubicBezTo>
                    <a:pt x="203" y="340"/>
                    <a:pt x="202" y="342"/>
                    <a:pt x="202" y="343"/>
                  </a:cubicBezTo>
                  <a:cubicBezTo>
                    <a:pt x="201" y="346"/>
                    <a:pt x="204" y="349"/>
                    <a:pt x="207" y="345"/>
                  </a:cubicBezTo>
                  <a:cubicBezTo>
                    <a:pt x="208" y="343"/>
                    <a:pt x="209" y="340"/>
                    <a:pt x="211" y="338"/>
                  </a:cubicBezTo>
                  <a:cubicBezTo>
                    <a:pt x="213" y="336"/>
                    <a:pt x="211" y="332"/>
                    <a:pt x="212" y="329"/>
                  </a:cubicBezTo>
                  <a:cubicBezTo>
                    <a:pt x="212" y="328"/>
                    <a:pt x="212" y="326"/>
                    <a:pt x="211" y="325"/>
                  </a:cubicBezTo>
                  <a:cubicBezTo>
                    <a:pt x="210" y="324"/>
                    <a:pt x="210" y="325"/>
                    <a:pt x="210" y="324"/>
                  </a:cubicBezTo>
                  <a:cubicBezTo>
                    <a:pt x="209" y="323"/>
                    <a:pt x="209" y="323"/>
                    <a:pt x="208" y="322"/>
                  </a:cubicBezTo>
                  <a:cubicBezTo>
                    <a:pt x="208" y="322"/>
                    <a:pt x="207" y="322"/>
                    <a:pt x="207" y="322"/>
                  </a:cubicBezTo>
                  <a:cubicBezTo>
                    <a:pt x="206" y="323"/>
                    <a:pt x="206" y="323"/>
                    <a:pt x="205" y="324"/>
                  </a:cubicBezTo>
                  <a:cubicBezTo>
                    <a:pt x="204" y="325"/>
                    <a:pt x="204" y="326"/>
                    <a:pt x="204" y="328"/>
                  </a:cubicBezTo>
                  <a:cubicBezTo>
                    <a:pt x="204" y="328"/>
                    <a:pt x="202" y="329"/>
                    <a:pt x="201" y="330"/>
                  </a:cubicBezTo>
                  <a:cubicBezTo>
                    <a:pt x="200" y="331"/>
                    <a:pt x="200" y="332"/>
                    <a:pt x="200" y="333"/>
                  </a:cubicBezTo>
                  <a:cubicBezTo>
                    <a:pt x="199" y="336"/>
                    <a:pt x="196" y="337"/>
                    <a:pt x="196" y="340"/>
                  </a:cubicBezTo>
                  <a:cubicBezTo>
                    <a:pt x="196" y="342"/>
                    <a:pt x="196" y="345"/>
                    <a:pt x="198" y="346"/>
                  </a:cubicBezTo>
                  <a:close/>
                  <a:moveTo>
                    <a:pt x="191" y="356"/>
                  </a:moveTo>
                  <a:cubicBezTo>
                    <a:pt x="189" y="355"/>
                    <a:pt x="188" y="357"/>
                    <a:pt x="188" y="359"/>
                  </a:cubicBezTo>
                  <a:cubicBezTo>
                    <a:pt x="186" y="366"/>
                    <a:pt x="187" y="372"/>
                    <a:pt x="186" y="379"/>
                  </a:cubicBezTo>
                  <a:cubicBezTo>
                    <a:pt x="185" y="384"/>
                    <a:pt x="186" y="389"/>
                    <a:pt x="187" y="394"/>
                  </a:cubicBezTo>
                  <a:cubicBezTo>
                    <a:pt x="187" y="394"/>
                    <a:pt x="188" y="395"/>
                    <a:pt x="188" y="395"/>
                  </a:cubicBezTo>
                  <a:cubicBezTo>
                    <a:pt x="188" y="396"/>
                    <a:pt x="190" y="396"/>
                    <a:pt x="190" y="394"/>
                  </a:cubicBezTo>
                  <a:cubicBezTo>
                    <a:pt x="191" y="387"/>
                    <a:pt x="191" y="380"/>
                    <a:pt x="194" y="372"/>
                  </a:cubicBezTo>
                  <a:cubicBezTo>
                    <a:pt x="196" y="369"/>
                    <a:pt x="195" y="366"/>
                    <a:pt x="198" y="363"/>
                  </a:cubicBezTo>
                  <a:cubicBezTo>
                    <a:pt x="200" y="361"/>
                    <a:pt x="201" y="359"/>
                    <a:pt x="202" y="357"/>
                  </a:cubicBezTo>
                  <a:cubicBezTo>
                    <a:pt x="202" y="356"/>
                    <a:pt x="202" y="356"/>
                    <a:pt x="201" y="356"/>
                  </a:cubicBezTo>
                  <a:cubicBezTo>
                    <a:pt x="198" y="354"/>
                    <a:pt x="195" y="357"/>
                    <a:pt x="191" y="356"/>
                  </a:cubicBezTo>
                  <a:close/>
                  <a:moveTo>
                    <a:pt x="57" y="279"/>
                  </a:moveTo>
                  <a:cubicBezTo>
                    <a:pt x="57" y="280"/>
                    <a:pt x="56" y="280"/>
                    <a:pt x="56" y="281"/>
                  </a:cubicBezTo>
                  <a:cubicBezTo>
                    <a:pt x="56" y="282"/>
                    <a:pt x="56" y="282"/>
                    <a:pt x="57" y="283"/>
                  </a:cubicBezTo>
                  <a:cubicBezTo>
                    <a:pt x="59" y="283"/>
                    <a:pt x="60" y="282"/>
                    <a:pt x="61" y="281"/>
                  </a:cubicBezTo>
                  <a:cubicBezTo>
                    <a:pt x="62" y="279"/>
                    <a:pt x="63" y="277"/>
                    <a:pt x="64" y="275"/>
                  </a:cubicBezTo>
                  <a:cubicBezTo>
                    <a:pt x="64" y="274"/>
                    <a:pt x="63" y="273"/>
                    <a:pt x="62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61" y="274"/>
                    <a:pt x="61" y="274"/>
                    <a:pt x="60" y="274"/>
                  </a:cubicBezTo>
                  <a:cubicBezTo>
                    <a:pt x="59" y="274"/>
                    <a:pt x="59" y="276"/>
                    <a:pt x="60" y="276"/>
                  </a:cubicBezTo>
                  <a:cubicBezTo>
                    <a:pt x="60" y="276"/>
                    <a:pt x="59" y="277"/>
                    <a:pt x="59" y="277"/>
                  </a:cubicBezTo>
                  <a:cubicBezTo>
                    <a:pt x="59" y="278"/>
                    <a:pt x="58" y="279"/>
                    <a:pt x="57" y="279"/>
                  </a:cubicBezTo>
                  <a:close/>
                  <a:moveTo>
                    <a:pt x="210" y="310"/>
                  </a:moveTo>
                  <a:cubicBezTo>
                    <a:pt x="211" y="313"/>
                    <a:pt x="210" y="314"/>
                    <a:pt x="209" y="316"/>
                  </a:cubicBezTo>
                  <a:cubicBezTo>
                    <a:pt x="208" y="316"/>
                    <a:pt x="208" y="317"/>
                    <a:pt x="208" y="317"/>
                  </a:cubicBezTo>
                  <a:cubicBezTo>
                    <a:pt x="208" y="318"/>
                    <a:pt x="208" y="318"/>
                    <a:pt x="208" y="319"/>
                  </a:cubicBezTo>
                  <a:cubicBezTo>
                    <a:pt x="208" y="320"/>
                    <a:pt x="209" y="320"/>
                    <a:pt x="210" y="320"/>
                  </a:cubicBezTo>
                  <a:cubicBezTo>
                    <a:pt x="211" y="320"/>
                    <a:pt x="211" y="319"/>
                    <a:pt x="212" y="318"/>
                  </a:cubicBezTo>
                  <a:cubicBezTo>
                    <a:pt x="213" y="317"/>
                    <a:pt x="215" y="317"/>
                    <a:pt x="216" y="317"/>
                  </a:cubicBezTo>
                  <a:cubicBezTo>
                    <a:pt x="217" y="316"/>
                    <a:pt x="217" y="316"/>
                    <a:pt x="218" y="315"/>
                  </a:cubicBezTo>
                  <a:cubicBezTo>
                    <a:pt x="218" y="314"/>
                    <a:pt x="217" y="312"/>
                    <a:pt x="217" y="311"/>
                  </a:cubicBezTo>
                  <a:cubicBezTo>
                    <a:pt x="217" y="309"/>
                    <a:pt x="215" y="306"/>
                    <a:pt x="212" y="307"/>
                  </a:cubicBezTo>
                  <a:cubicBezTo>
                    <a:pt x="211" y="308"/>
                    <a:pt x="210" y="309"/>
                    <a:pt x="210" y="310"/>
                  </a:cubicBezTo>
                  <a:close/>
                  <a:moveTo>
                    <a:pt x="90" y="235"/>
                  </a:moveTo>
                  <a:cubicBezTo>
                    <a:pt x="90" y="236"/>
                    <a:pt x="90" y="236"/>
                    <a:pt x="91" y="236"/>
                  </a:cubicBezTo>
                  <a:cubicBezTo>
                    <a:pt x="92" y="236"/>
                    <a:pt x="92" y="235"/>
                    <a:pt x="93" y="234"/>
                  </a:cubicBezTo>
                  <a:cubicBezTo>
                    <a:pt x="93" y="234"/>
                    <a:pt x="94" y="233"/>
                    <a:pt x="94" y="232"/>
                  </a:cubicBezTo>
                  <a:cubicBezTo>
                    <a:pt x="95" y="231"/>
                    <a:pt x="95" y="231"/>
                    <a:pt x="96" y="230"/>
                  </a:cubicBezTo>
                  <a:cubicBezTo>
                    <a:pt x="97" y="230"/>
                    <a:pt x="97" y="229"/>
                    <a:pt x="96" y="229"/>
                  </a:cubicBezTo>
                  <a:cubicBezTo>
                    <a:pt x="94" y="231"/>
                    <a:pt x="92" y="233"/>
                    <a:pt x="90" y="235"/>
                  </a:cubicBezTo>
                  <a:close/>
                  <a:moveTo>
                    <a:pt x="198" y="321"/>
                  </a:moveTo>
                  <a:cubicBezTo>
                    <a:pt x="198" y="322"/>
                    <a:pt x="198" y="322"/>
                    <a:pt x="199" y="322"/>
                  </a:cubicBezTo>
                  <a:cubicBezTo>
                    <a:pt x="200" y="321"/>
                    <a:pt x="201" y="320"/>
                    <a:pt x="202" y="319"/>
                  </a:cubicBezTo>
                  <a:cubicBezTo>
                    <a:pt x="201" y="320"/>
                    <a:pt x="202" y="321"/>
                    <a:pt x="202" y="321"/>
                  </a:cubicBezTo>
                  <a:cubicBezTo>
                    <a:pt x="203" y="322"/>
                    <a:pt x="203" y="322"/>
                    <a:pt x="204" y="321"/>
                  </a:cubicBezTo>
                  <a:cubicBezTo>
                    <a:pt x="205" y="319"/>
                    <a:pt x="206" y="317"/>
                    <a:pt x="208" y="315"/>
                  </a:cubicBezTo>
                  <a:cubicBezTo>
                    <a:pt x="208" y="315"/>
                    <a:pt x="208" y="315"/>
                    <a:pt x="208" y="315"/>
                  </a:cubicBezTo>
                  <a:cubicBezTo>
                    <a:pt x="209" y="313"/>
                    <a:pt x="210" y="311"/>
                    <a:pt x="208" y="310"/>
                  </a:cubicBezTo>
                  <a:cubicBezTo>
                    <a:pt x="208" y="309"/>
                    <a:pt x="207" y="309"/>
                    <a:pt x="206" y="310"/>
                  </a:cubicBezTo>
                  <a:cubicBezTo>
                    <a:pt x="205" y="310"/>
                    <a:pt x="205" y="311"/>
                    <a:pt x="205" y="313"/>
                  </a:cubicBezTo>
                  <a:cubicBezTo>
                    <a:pt x="205" y="313"/>
                    <a:pt x="204" y="314"/>
                    <a:pt x="204" y="315"/>
                  </a:cubicBezTo>
                  <a:cubicBezTo>
                    <a:pt x="204" y="314"/>
                    <a:pt x="205" y="312"/>
                    <a:pt x="205" y="311"/>
                  </a:cubicBezTo>
                  <a:cubicBezTo>
                    <a:pt x="207" y="305"/>
                    <a:pt x="209" y="300"/>
                    <a:pt x="209" y="295"/>
                  </a:cubicBezTo>
                  <a:cubicBezTo>
                    <a:pt x="210" y="294"/>
                    <a:pt x="210" y="294"/>
                    <a:pt x="211" y="294"/>
                  </a:cubicBezTo>
                  <a:cubicBezTo>
                    <a:pt x="211" y="293"/>
                    <a:pt x="212" y="290"/>
                    <a:pt x="212" y="289"/>
                  </a:cubicBezTo>
                  <a:cubicBezTo>
                    <a:pt x="211" y="286"/>
                    <a:pt x="207" y="286"/>
                    <a:pt x="204" y="288"/>
                  </a:cubicBezTo>
                  <a:cubicBezTo>
                    <a:pt x="202" y="289"/>
                    <a:pt x="202" y="291"/>
                    <a:pt x="201" y="294"/>
                  </a:cubicBezTo>
                  <a:cubicBezTo>
                    <a:pt x="201" y="295"/>
                    <a:pt x="201" y="297"/>
                    <a:pt x="201" y="298"/>
                  </a:cubicBezTo>
                  <a:cubicBezTo>
                    <a:pt x="201" y="301"/>
                    <a:pt x="199" y="303"/>
                    <a:pt x="199" y="306"/>
                  </a:cubicBezTo>
                  <a:cubicBezTo>
                    <a:pt x="199" y="310"/>
                    <a:pt x="194" y="318"/>
                    <a:pt x="198" y="321"/>
                  </a:cubicBezTo>
                  <a:close/>
                  <a:moveTo>
                    <a:pt x="1234" y="317"/>
                  </a:moveTo>
                  <a:cubicBezTo>
                    <a:pt x="1232" y="317"/>
                    <a:pt x="1230" y="316"/>
                    <a:pt x="1229" y="317"/>
                  </a:cubicBezTo>
                  <a:cubicBezTo>
                    <a:pt x="1228" y="317"/>
                    <a:pt x="1228" y="317"/>
                    <a:pt x="1228" y="318"/>
                  </a:cubicBezTo>
                  <a:cubicBezTo>
                    <a:pt x="1229" y="319"/>
                    <a:pt x="1229" y="319"/>
                    <a:pt x="1230" y="320"/>
                  </a:cubicBezTo>
                  <a:cubicBezTo>
                    <a:pt x="1232" y="320"/>
                    <a:pt x="1234" y="322"/>
                    <a:pt x="1236" y="322"/>
                  </a:cubicBezTo>
                  <a:cubicBezTo>
                    <a:pt x="1238" y="323"/>
                    <a:pt x="1239" y="323"/>
                    <a:pt x="1240" y="326"/>
                  </a:cubicBezTo>
                  <a:cubicBezTo>
                    <a:pt x="1240" y="327"/>
                    <a:pt x="1241" y="328"/>
                    <a:pt x="1241" y="328"/>
                  </a:cubicBezTo>
                  <a:cubicBezTo>
                    <a:pt x="1242" y="329"/>
                    <a:pt x="1242" y="329"/>
                    <a:pt x="1243" y="330"/>
                  </a:cubicBezTo>
                  <a:cubicBezTo>
                    <a:pt x="1244" y="330"/>
                    <a:pt x="1244" y="331"/>
                    <a:pt x="1245" y="331"/>
                  </a:cubicBezTo>
                  <a:cubicBezTo>
                    <a:pt x="1243" y="331"/>
                    <a:pt x="1242" y="331"/>
                    <a:pt x="1240" y="331"/>
                  </a:cubicBezTo>
                  <a:cubicBezTo>
                    <a:pt x="1240" y="331"/>
                    <a:pt x="1240" y="331"/>
                    <a:pt x="1240" y="332"/>
                  </a:cubicBezTo>
                  <a:cubicBezTo>
                    <a:pt x="1239" y="334"/>
                    <a:pt x="1241" y="337"/>
                    <a:pt x="1243" y="338"/>
                  </a:cubicBezTo>
                  <a:cubicBezTo>
                    <a:pt x="1245" y="338"/>
                    <a:pt x="1247" y="339"/>
                    <a:pt x="1249" y="340"/>
                  </a:cubicBezTo>
                  <a:cubicBezTo>
                    <a:pt x="1251" y="341"/>
                    <a:pt x="1252" y="342"/>
                    <a:pt x="1254" y="344"/>
                  </a:cubicBezTo>
                  <a:cubicBezTo>
                    <a:pt x="1254" y="344"/>
                    <a:pt x="1254" y="344"/>
                    <a:pt x="1255" y="345"/>
                  </a:cubicBezTo>
                  <a:cubicBezTo>
                    <a:pt x="1257" y="346"/>
                    <a:pt x="1258" y="347"/>
                    <a:pt x="1260" y="348"/>
                  </a:cubicBezTo>
                  <a:cubicBezTo>
                    <a:pt x="1262" y="350"/>
                    <a:pt x="1263" y="351"/>
                    <a:pt x="1265" y="350"/>
                  </a:cubicBezTo>
                  <a:cubicBezTo>
                    <a:pt x="1268" y="349"/>
                    <a:pt x="1270" y="349"/>
                    <a:pt x="1273" y="349"/>
                  </a:cubicBezTo>
                  <a:cubicBezTo>
                    <a:pt x="1275" y="349"/>
                    <a:pt x="1276" y="347"/>
                    <a:pt x="1279" y="347"/>
                  </a:cubicBezTo>
                  <a:cubicBezTo>
                    <a:pt x="1280" y="347"/>
                    <a:pt x="1282" y="345"/>
                    <a:pt x="1283" y="344"/>
                  </a:cubicBezTo>
                  <a:cubicBezTo>
                    <a:pt x="1284" y="343"/>
                    <a:pt x="1284" y="342"/>
                    <a:pt x="1283" y="341"/>
                  </a:cubicBezTo>
                  <a:cubicBezTo>
                    <a:pt x="1283" y="339"/>
                    <a:pt x="1282" y="336"/>
                    <a:pt x="1280" y="334"/>
                  </a:cubicBezTo>
                  <a:cubicBezTo>
                    <a:pt x="1279" y="332"/>
                    <a:pt x="1277" y="332"/>
                    <a:pt x="1276" y="329"/>
                  </a:cubicBezTo>
                  <a:cubicBezTo>
                    <a:pt x="1276" y="327"/>
                    <a:pt x="1274" y="325"/>
                    <a:pt x="1273" y="323"/>
                  </a:cubicBezTo>
                  <a:cubicBezTo>
                    <a:pt x="1273" y="322"/>
                    <a:pt x="1272" y="321"/>
                    <a:pt x="1271" y="321"/>
                  </a:cubicBezTo>
                  <a:cubicBezTo>
                    <a:pt x="1269" y="321"/>
                    <a:pt x="1268" y="318"/>
                    <a:pt x="1266" y="317"/>
                  </a:cubicBezTo>
                  <a:cubicBezTo>
                    <a:pt x="1265" y="315"/>
                    <a:pt x="1264" y="318"/>
                    <a:pt x="1262" y="317"/>
                  </a:cubicBezTo>
                  <a:cubicBezTo>
                    <a:pt x="1262" y="317"/>
                    <a:pt x="1261" y="317"/>
                    <a:pt x="1261" y="317"/>
                  </a:cubicBezTo>
                  <a:cubicBezTo>
                    <a:pt x="1260" y="321"/>
                    <a:pt x="1260" y="314"/>
                    <a:pt x="1257" y="316"/>
                  </a:cubicBezTo>
                  <a:cubicBezTo>
                    <a:pt x="1257" y="316"/>
                    <a:pt x="1256" y="316"/>
                    <a:pt x="1257" y="317"/>
                  </a:cubicBezTo>
                  <a:cubicBezTo>
                    <a:pt x="1255" y="316"/>
                    <a:pt x="1253" y="310"/>
                    <a:pt x="1251" y="314"/>
                  </a:cubicBezTo>
                  <a:cubicBezTo>
                    <a:pt x="1250" y="315"/>
                    <a:pt x="1251" y="319"/>
                    <a:pt x="1250" y="315"/>
                  </a:cubicBezTo>
                  <a:cubicBezTo>
                    <a:pt x="1249" y="313"/>
                    <a:pt x="1248" y="312"/>
                    <a:pt x="1247" y="311"/>
                  </a:cubicBezTo>
                  <a:cubicBezTo>
                    <a:pt x="1246" y="311"/>
                    <a:pt x="1246" y="311"/>
                    <a:pt x="1246" y="311"/>
                  </a:cubicBezTo>
                  <a:cubicBezTo>
                    <a:pt x="1245" y="312"/>
                    <a:pt x="1246" y="315"/>
                    <a:pt x="1247" y="317"/>
                  </a:cubicBezTo>
                  <a:cubicBezTo>
                    <a:pt x="1246" y="318"/>
                    <a:pt x="1245" y="318"/>
                    <a:pt x="1245" y="318"/>
                  </a:cubicBezTo>
                  <a:cubicBezTo>
                    <a:pt x="1245" y="318"/>
                    <a:pt x="1245" y="316"/>
                    <a:pt x="1244" y="316"/>
                  </a:cubicBezTo>
                  <a:cubicBezTo>
                    <a:pt x="1243" y="313"/>
                    <a:pt x="1242" y="311"/>
                    <a:pt x="1241" y="308"/>
                  </a:cubicBezTo>
                  <a:cubicBezTo>
                    <a:pt x="1240" y="305"/>
                    <a:pt x="1236" y="307"/>
                    <a:pt x="1236" y="304"/>
                  </a:cubicBezTo>
                  <a:cubicBezTo>
                    <a:pt x="1236" y="302"/>
                    <a:pt x="1233" y="301"/>
                    <a:pt x="1232" y="301"/>
                  </a:cubicBezTo>
                  <a:cubicBezTo>
                    <a:pt x="1231" y="301"/>
                    <a:pt x="1231" y="301"/>
                    <a:pt x="1231" y="301"/>
                  </a:cubicBezTo>
                  <a:cubicBezTo>
                    <a:pt x="1230" y="302"/>
                    <a:pt x="1231" y="302"/>
                    <a:pt x="1229" y="302"/>
                  </a:cubicBezTo>
                  <a:cubicBezTo>
                    <a:pt x="1229" y="302"/>
                    <a:pt x="1228" y="302"/>
                    <a:pt x="1227" y="303"/>
                  </a:cubicBezTo>
                  <a:cubicBezTo>
                    <a:pt x="1227" y="305"/>
                    <a:pt x="1222" y="308"/>
                    <a:pt x="1227" y="310"/>
                  </a:cubicBezTo>
                  <a:cubicBezTo>
                    <a:pt x="1228" y="311"/>
                    <a:pt x="1231" y="311"/>
                    <a:pt x="1233" y="312"/>
                  </a:cubicBezTo>
                  <a:cubicBezTo>
                    <a:pt x="1235" y="313"/>
                    <a:pt x="1236" y="313"/>
                    <a:pt x="1238" y="314"/>
                  </a:cubicBezTo>
                  <a:cubicBezTo>
                    <a:pt x="1240" y="316"/>
                    <a:pt x="1238" y="315"/>
                    <a:pt x="1238" y="316"/>
                  </a:cubicBezTo>
                  <a:cubicBezTo>
                    <a:pt x="1237" y="317"/>
                    <a:pt x="1237" y="317"/>
                    <a:pt x="1237" y="317"/>
                  </a:cubicBezTo>
                  <a:cubicBezTo>
                    <a:pt x="1238" y="318"/>
                    <a:pt x="1238" y="318"/>
                    <a:pt x="1239" y="319"/>
                  </a:cubicBezTo>
                  <a:cubicBezTo>
                    <a:pt x="1240" y="319"/>
                    <a:pt x="1240" y="320"/>
                    <a:pt x="1241" y="320"/>
                  </a:cubicBezTo>
                  <a:cubicBezTo>
                    <a:pt x="1239" y="320"/>
                    <a:pt x="1238" y="319"/>
                    <a:pt x="1237" y="319"/>
                  </a:cubicBezTo>
                  <a:cubicBezTo>
                    <a:pt x="1236" y="318"/>
                    <a:pt x="1235" y="317"/>
                    <a:pt x="1234" y="317"/>
                  </a:cubicBezTo>
                  <a:close/>
                  <a:moveTo>
                    <a:pt x="815" y="1579"/>
                  </a:moveTo>
                  <a:cubicBezTo>
                    <a:pt x="816" y="1578"/>
                    <a:pt x="816" y="1577"/>
                    <a:pt x="815" y="1577"/>
                  </a:cubicBezTo>
                  <a:cubicBezTo>
                    <a:pt x="810" y="1577"/>
                    <a:pt x="806" y="1578"/>
                    <a:pt x="801" y="1578"/>
                  </a:cubicBezTo>
                  <a:cubicBezTo>
                    <a:pt x="798" y="1578"/>
                    <a:pt x="795" y="1577"/>
                    <a:pt x="792" y="1576"/>
                  </a:cubicBezTo>
                  <a:cubicBezTo>
                    <a:pt x="792" y="1574"/>
                    <a:pt x="793" y="1573"/>
                    <a:pt x="795" y="1573"/>
                  </a:cubicBezTo>
                  <a:cubicBezTo>
                    <a:pt x="796" y="1572"/>
                    <a:pt x="798" y="1572"/>
                    <a:pt x="799" y="1572"/>
                  </a:cubicBezTo>
                  <a:cubicBezTo>
                    <a:pt x="803" y="1571"/>
                    <a:pt x="806" y="1567"/>
                    <a:pt x="810" y="1565"/>
                  </a:cubicBezTo>
                  <a:cubicBezTo>
                    <a:pt x="811" y="1564"/>
                    <a:pt x="816" y="1562"/>
                    <a:pt x="816" y="1560"/>
                  </a:cubicBezTo>
                  <a:cubicBezTo>
                    <a:pt x="816" y="1558"/>
                    <a:pt x="814" y="1557"/>
                    <a:pt x="812" y="1557"/>
                  </a:cubicBezTo>
                  <a:cubicBezTo>
                    <a:pt x="810" y="1557"/>
                    <a:pt x="807" y="1557"/>
                    <a:pt x="804" y="1557"/>
                  </a:cubicBezTo>
                  <a:cubicBezTo>
                    <a:pt x="803" y="1557"/>
                    <a:pt x="803" y="1556"/>
                    <a:pt x="802" y="1556"/>
                  </a:cubicBezTo>
                  <a:cubicBezTo>
                    <a:pt x="802" y="1555"/>
                    <a:pt x="803" y="1554"/>
                    <a:pt x="803" y="1553"/>
                  </a:cubicBezTo>
                  <a:cubicBezTo>
                    <a:pt x="804" y="1553"/>
                    <a:pt x="805" y="1553"/>
                    <a:pt x="807" y="1552"/>
                  </a:cubicBezTo>
                  <a:cubicBezTo>
                    <a:pt x="808" y="1552"/>
                    <a:pt x="810" y="1553"/>
                    <a:pt x="812" y="1552"/>
                  </a:cubicBezTo>
                  <a:cubicBezTo>
                    <a:pt x="813" y="1552"/>
                    <a:pt x="815" y="1550"/>
                    <a:pt x="816" y="1549"/>
                  </a:cubicBezTo>
                  <a:cubicBezTo>
                    <a:pt x="818" y="1548"/>
                    <a:pt x="818" y="1548"/>
                    <a:pt x="819" y="1546"/>
                  </a:cubicBezTo>
                  <a:cubicBezTo>
                    <a:pt x="821" y="1544"/>
                    <a:pt x="818" y="1543"/>
                    <a:pt x="822" y="1540"/>
                  </a:cubicBezTo>
                  <a:cubicBezTo>
                    <a:pt x="824" y="1538"/>
                    <a:pt x="825" y="1536"/>
                    <a:pt x="828" y="1537"/>
                  </a:cubicBezTo>
                  <a:cubicBezTo>
                    <a:pt x="829" y="1537"/>
                    <a:pt x="831" y="1537"/>
                    <a:pt x="832" y="1536"/>
                  </a:cubicBezTo>
                  <a:cubicBezTo>
                    <a:pt x="833" y="1535"/>
                    <a:pt x="834" y="1533"/>
                    <a:pt x="834" y="1531"/>
                  </a:cubicBezTo>
                  <a:cubicBezTo>
                    <a:pt x="832" y="1523"/>
                    <a:pt x="819" y="1539"/>
                    <a:pt x="819" y="1529"/>
                  </a:cubicBezTo>
                  <a:cubicBezTo>
                    <a:pt x="819" y="1523"/>
                    <a:pt x="830" y="1526"/>
                    <a:pt x="834" y="1526"/>
                  </a:cubicBezTo>
                  <a:cubicBezTo>
                    <a:pt x="837" y="1526"/>
                    <a:pt x="842" y="1525"/>
                    <a:pt x="844" y="1523"/>
                  </a:cubicBezTo>
                  <a:cubicBezTo>
                    <a:pt x="845" y="1522"/>
                    <a:pt x="845" y="1521"/>
                    <a:pt x="845" y="1521"/>
                  </a:cubicBezTo>
                  <a:cubicBezTo>
                    <a:pt x="845" y="1518"/>
                    <a:pt x="847" y="1517"/>
                    <a:pt x="848" y="1515"/>
                  </a:cubicBezTo>
                  <a:cubicBezTo>
                    <a:pt x="849" y="1513"/>
                    <a:pt x="848" y="1511"/>
                    <a:pt x="847" y="1509"/>
                  </a:cubicBezTo>
                  <a:cubicBezTo>
                    <a:pt x="848" y="1509"/>
                    <a:pt x="850" y="1509"/>
                    <a:pt x="851" y="1509"/>
                  </a:cubicBezTo>
                  <a:cubicBezTo>
                    <a:pt x="854" y="1510"/>
                    <a:pt x="856" y="1509"/>
                    <a:pt x="858" y="1508"/>
                  </a:cubicBezTo>
                  <a:cubicBezTo>
                    <a:pt x="865" y="1505"/>
                    <a:pt x="873" y="1505"/>
                    <a:pt x="880" y="1503"/>
                  </a:cubicBezTo>
                  <a:cubicBezTo>
                    <a:pt x="885" y="1501"/>
                    <a:pt x="889" y="1500"/>
                    <a:pt x="892" y="1496"/>
                  </a:cubicBezTo>
                  <a:cubicBezTo>
                    <a:pt x="894" y="1491"/>
                    <a:pt x="899" y="1489"/>
                    <a:pt x="900" y="1484"/>
                  </a:cubicBezTo>
                  <a:cubicBezTo>
                    <a:pt x="900" y="1483"/>
                    <a:pt x="899" y="1483"/>
                    <a:pt x="898" y="1483"/>
                  </a:cubicBezTo>
                  <a:cubicBezTo>
                    <a:pt x="897" y="1484"/>
                    <a:pt x="891" y="1486"/>
                    <a:pt x="893" y="1482"/>
                  </a:cubicBezTo>
                  <a:cubicBezTo>
                    <a:pt x="893" y="1481"/>
                    <a:pt x="894" y="1480"/>
                    <a:pt x="894" y="1479"/>
                  </a:cubicBezTo>
                  <a:cubicBezTo>
                    <a:pt x="893" y="1477"/>
                    <a:pt x="892" y="1477"/>
                    <a:pt x="890" y="1476"/>
                  </a:cubicBezTo>
                  <a:cubicBezTo>
                    <a:pt x="889" y="1476"/>
                    <a:pt x="888" y="1476"/>
                    <a:pt x="886" y="1475"/>
                  </a:cubicBezTo>
                  <a:cubicBezTo>
                    <a:pt x="885" y="1475"/>
                    <a:pt x="884" y="1475"/>
                    <a:pt x="883" y="1475"/>
                  </a:cubicBezTo>
                  <a:cubicBezTo>
                    <a:pt x="879" y="1472"/>
                    <a:pt x="879" y="1471"/>
                    <a:pt x="882" y="1470"/>
                  </a:cubicBezTo>
                  <a:cubicBezTo>
                    <a:pt x="886" y="1472"/>
                    <a:pt x="890" y="1475"/>
                    <a:pt x="895" y="1475"/>
                  </a:cubicBezTo>
                  <a:cubicBezTo>
                    <a:pt x="898" y="1475"/>
                    <a:pt x="902" y="1475"/>
                    <a:pt x="905" y="1475"/>
                  </a:cubicBezTo>
                  <a:cubicBezTo>
                    <a:pt x="908" y="1475"/>
                    <a:pt x="911" y="1476"/>
                    <a:pt x="914" y="1475"/>
                  </a:cubicBezTo>
                  <a:cubicBezTo>
                    <a:pt x="920" y="1473"/>
                    <a:pt x="924" y="1468"/>
                    <a:pt x="928" y="1464"/>
                  </a:cubicBezTo>
                  <a:cubicBezTo>
                    <a:pt x="933" y="1459"/>
                    <a:pt x="940" y="1458"/>
                    <a:pt x="942" y="1451"/>
                  </a:cubicBezTo>
                  <a:cubicBezTo>
                    <a:pt x="944" y="1448"/>
                    <a:pt x="942" y="1444"/>
                    <a:pt x="945" y="1442"/>
                  </a:cubicBezTo>
                  <a:cubicBezTo>
                    <a:pt x="949" y="1440"/>
                    <a:pt x="951" y="1438"/>
                    <a:pt x="954" y="1435"/>
                  </a:cubicBezTo>
                  <a:cubicBezTo>
                    <a:pt x="955" y="1434"/>
                    <a:pt x="955" y="1434"/>
                    <a:pt x="956" y="1433"/>
                  </a:cubicBezTo>
                  <a:cubicBezTo>
                    <a:pt x="956" y="1434"/>
                    <a:pt x="954" y="1436"/>
                    <a:pt x="953" y="1437"/>
                  </a:cubicBezTo>
                  <a:cubicBezTo>
                    <a:pt x="950" y="1440"/>
                    <a:pt x="947" y="1442"/>
                    <a:pt x="945" y="1445"/>
                  </a:cubicBezTo>
                  <a:cubicBezTo>
                    <a:pt x="945" y="1446"/>
                    <a:pt x="945" y="1447"/>
                    <a:pt x="946" y="1447"/>
                  </a:cubicBezTo>
                  <a:cubicBezTo>
                    <a:pt x="948" y="1446"/>
                    <a:pt x="949" y="1446"/>
                    <a:pt x="950" y="1445"/>
                  </a:cubicBezTo>
                  <a:cubicBezTo>
                    <a:pt x="953" y="1442"/>
                    <a:pt x="956" y="1440"/>
                    <a:pt x="959" y="1437"/>
                  </a:cubicBezTo>
                  <a:cubicBezTo>
                    <a:pt x="960" y="1436"/>
                    <a:pt x="961" y="1435"/>
                    <a:pt x="962" y="1433"/>
                  </a:cubicBezTo>
                  <a:cubicBezTo>
                    <a:pt x="963" y="1429"/>
                    <a:pt x="966" y="1426"/>
                    <a:pt x="970" y="1423"/>
                  </a:cubicBezTo>
                  <a:cubicBezTo>
                    <a:pt x="974" y="1421"/>
                    <a:pt x="978" y="1416"/>
                    <a:pt x="980" y="1412"/>
                  </a:cubicBezTo>
                  <a:cubicBezTo>
                    <a:pt x="981" y="1411"/>
                    <a:pt x="983" y="1409"/>
                    <a:pt x="983" y="1408"/>
                  </a:cubicBezTo>
                  <a:cubicBezTo>
                    <a:pt x="982" y="1404"/>
                    <a:pt x="981" y="1402"/>
                    <a:pt x="981" y="1398"/>
                  </a:cubicBezTo>
                  <a:cubicBezTo>
                    <a:pt x="982" y="1394"/>
                    <a:pt x="986" y="1391"/>
                    <a:pt x="989" y="1389"/>
                  </a:cubicBezTo>
                  <a:cubicBezTo>
                    <a:pt x="991" y="1388"/>
                    <a:pt x="992" y="1386"/>
                    <a:pt x="994" y="1384"/>
                  </a:cubicBezTo>
                  <a:cubicBezTo>
                    <a:pt x="996" y="1382"/>
                    <a:pt x="1000" y="1381"/>
                    <a:pt x="1003" y="1380"/>
                  </a:cubicBezTo>
                  <a:cubicBezTo>
                    <a:pt x="1005" y="1378"/>
                    <a:pt x="1008" y="1376"/>
                    <a:pt x="1011" y="1374"/>
                  </a:cubicBezTo>
                  <a:cubicBezTo>
                    <a:pt x="1015" y="1371"/>
                    <a:pt x="1019" y="1371"/>
                    <a:pt x="1022" y="1367"/>
                  </a:cubicBezTo>
                  <a:cubicBezTo>
                    <a:pt x="1024" y="1365"/>
                    <a:pt x="1026" y="1362"/>
                    <a:pt x="1027" y="1360"/>
                  </a:cubicBezTo>
                  <a:cubicBezTo>
                    <a:pt x="1027" y="1360"/>
                    <a:pt x="1028" y="1360"/>
                    <a:pt x="1028" y="1359"/>
                  </a:cubicBezTo>
                  <a:cubicBezTo>
                    <a:pt x="1031" y="1358"/>
                    <a:pt x="1037" y="1359"/>
                    <a:pt x="1039" y="1359"/>
                  </a:cubicBezTo>
                  <a:cubicBezTo>
                    <a:pt x="1044" y="1358"/>
                    <a:pt x="1047" y="1357"/>
                    <a:pt x="1051" y="1355"/>
                  </a:cubicBezTo>
                  <a:cubicBezTo>
                    <a:pt x="1052" y="1354"/>
                    <a:pt x="1053" y="1352"/>
                    <a:pt x="1055" y="1351"/>
                  </a:cubicBezTo>
                  <a:cubicBezTo>
                    <a:pt x="1057" y="1350"/>
                    <a:pt x="1059" y="1349"/>
                    <a:pt x="1060" y="1348"/>
                  </a:cubicBezTo>
                  <a:cubicBezTo>
                    <a:pt x="1062" y="1347"/>
                    <a:pt x="1062" y="1346"/>
                    <a:pt x="1063" y="1344"/>
                  </a:cubicBezTo>
                  <a:cubicBezTo>
                    <a:pt x="1063" y="1340"/>
                    <a:pt x="1065" y="1338"/>
                    <a:pt x="1068" y="1335"/>
                  </a:cubicBezTo>
                  <a:cubicBezTo>
                    <a:pt x="1069" y="1334"/>
                    <a:pt x="1070" y="1332"/>
                    <a:pt x="1071" y="1331"/>
                  </a:cubicBezTo>
                  <a:cubicBezTo>
                    <a:pt x="1072" y="1329"/>
                    <a:pt x="1075" y="1327"/>
                    <a:pt x="1076" y="1325"/>
                  </a:cubicBezTo>
                  <a:cubicBezTo>
                    <a:pt x="1078" y="1319"/>
                    <a:pt x="1075" y="1314"/>
                    <a:pt x="1081" y="1310"/>
                  </a:cubicBezTo>
                  <a:cubicBezTo>
                    <a:pt x="1084" y="1308"/>
                    <a:pt x="1084" y="1305"/>
                    <a:pt x="1086" y="1301"/>
                  </a:cubicBezTo>
                  <a:cubicBezTo>
                    <a:pt x="1088" y="1296"/>
                    <a:pt x="1090" y="1293"/>
                    <a:pt x="1089" y="1287"/>
                  </a:cubicBezTo>
                  <a:cubicBezTo>
                    <a:pt x="1089" y="1281"/>
                    <a:pt x="1090" y="1276"/>
                    <a:pt x="1091" y="1270"/>
                  </a:cubicBezTo>
                  <a:cubicBezTo>
                    <a:pt x="1092" y="1266"/>
                    <a:pt x="1093" y="1263"/>
                    <a:pt x="1097" y="1260"/>
                  </a:cubicBezTo>
                  <a:cubicBezTo>
                    <a:pt x="1098" y="1259"/>
                    <a:pt x="1100" y="1258"/>
                    <a:pt x="1101" y="1256"/>
                  </a:cubicBezTo>
                  <a:cubicBezTo>
                    <a:pt x="1105" y="1253"/>
                    <a:pt x="1107" y="1248"/>
                    <a:pt x="1111" y="1245"/>
                  </a:cubicBezTo>
                  <a:cubicBezTo>
                    <a:pt x="1112" y="1243"/>
                    <a:pt x="1114" y="1241"/>
                    <a:pt x="1116" y="1239"/>
                  </a:cubicBezTo>
                  <a:cubicBezTo>
                    <a:pt x="1118" y="1238"/>
                    <a:pt x="1120" y="1236"/>
                    <a:pt x="1122" y="1235"/>
                  </a:cubicBezTo>
                  <a:cubicBezTo>
                    <a:pt x="1125" y="1231"/>
                    <a:pt x="1129" y="1228"/>
                    <a:pt x="1133" y="1224"/>
                  </a:cubicBezTo>
                  <a:cubicBezTo>
                    <a:pt x="1136" y="1221"/>
                    <a:pt x="1136" y="1217"/>
                    <a:pt x="1137" y="1213"/>
                  </a:cubicBezTo>
                  <a:cubicBezTo>
                    <a:pt x="1137" y="1211"/>
                    <a:pt x="1137" y="1209"/>
                    <a:pt x="1137" y="1208"/>
                  </a:cubicBezTo>
                  <a:cubicBezTo>
                    <a:pt x="1139" y="1206"/>
                    <a:pt x="1141" y="1204"/>
                    <a:pt x="1140" y="1201"/>
                  </a:cubicBezTo>
                  <a:cubicBezTo>
                    <a:pt x="1138" y="1194"/>
                    <a:pt x="1137" y="1187"/>
                    <a:pt x="1133" y="1181"/>
                  </a:cubicBezTo>
                  <a:cubicBezTo>
                    <a:pt x="1133" y="1181"/>
                    <a:pt x="1132" y="1180"/>
                    <a:pt x="1132" y="1181"/>
                  </a:cubicBezTo>
                  <a:cubicBezTo>
                    <a:pt x="1127" y="1182"/>
                    <a:pt x="1123" y="1180"/>
                    <a:pt x="1118" y="1178"/>
                  </a:cubicBezTo>
                  <a:cubicBezTo>
                    <a:pt x="1113" y="1176"/>
                    <a:pt x="1112" y="1172"/>
                    <a:pt x="1108" y="1169"/>
                  </a:cubicBezTo>
                  <a:cubicBezTo>
                    <a:pt x="1103" y="1165"/>
                    <a:pt x="1096" y="1162"/>
                    <a:pt x="1090" y="1163"/>
                  </a:cubicBezTo>
                  <a:cubicBezTo>
                    <a:pt x="1085" y="1164"/>
                    <a:pt x="1081" y="1163"/>
                    <a:pt x="1076" y="1163"/>
                  </a:cubicBezTo>
                  <a:cubicBezTo>
                    <a:pt x="1073" y="1164"/>
                    <a:pt x="1070" y="1166"/>
                    <a:pt x="1066" y="1165"/>
                  </a:cubicBezTo>
                  <a:cubicBezTo>
                    <a:pt x="1064" y="1164"/>
                    <a:pt x="1062" y="1163"/>
                    <a:pt x="1060" y="1162"/>
                  </a:cubicBezTo>
                  <a:cubicBezTo>
                    <a:pt x="1058" y="1162"/>
                    <a:pt x="1054" y="1164"/>
                    <a:pt x="1053" y="1165"/>
                  </a:cubicBezTo>
                  <a:cubicBezTo>
                    <a:pt x="1051" y="1166"/>
                    <a:pt x="1050" y="1167"/>
                    <a:pt x="1049" y="1168"/>
                  </a:cubicBezTo>
                  <a:cubicBezTo>
                    <a:pt x="1049" y="1168"/>
                    <a:pt x="1051" y="1163"/>
                    <a:pt x="1051" y="1163"/>
                  </a:cubicBezTo>
                  <a:cubicBezTo>
                    <a:pt x="1052" y="1159"/>
                    <a:pt x="1050" y="1152"/>
                    <a:pt x="1044" y="1154"/>
                  </a:cubicBezTo>
                  <a:cubicBezTo>
                    <a:pt x="1042" y="1154"/>
                    <a:pt x="1040" y="1155"/>
                    <a:pt x="1037" y="1153"/>
                  </a:cubicBezTo>
                  <a:cubicBezTo>
                    <a:pt x="1036" y="1152"/>
                    <a:pt x="1035" y="1152"/>
                    <a:pt x="1033" y="1151"/>
                  </a:cubicBezTo>
                  <a:cubicBezTo>
                    <a:pt x="1029" y="1150"/>
                    <a:pt x="1025" y="1150"/>
                    <a:pt x="1021" y="1148"/>
                  </a:cubicBezTo>
                  <a:cubicBezTo>
                    <a:pt x="1018" y="1147"/>
                    <a:pt x="1016" y="1147"/>
                    <a:pt x="1014" y="1149"/>
                  </a:cubicBezTo>
                  <a:cubicBezTo>
                    <a:pt x="1010" y="1153"/>
                    <a:pt x="1009" y="1157"/>
                    <a:pt x="1004" y="1160"/>
                  </a:cubicBezTo>
                  <a:cubicBezTo>
                    <a:pt x="1001" y="1162"/>
                    <a:pt x="998" y="1163"/>
                    <a:pt x="996" y="1166"/>
                  </a:cubicBezTo>
                  <a:cubicBezTo>
                    <a:pt x="996" y="1167"/>
                    <a:pt x="995" y="1167"/>
                    <a:pt x="995" y="1168"/>
                  </a:cubicBezTo>
                  <a:cubicBezTo>
                    <a:pt x="995" y="1167"/>
                    <a:pt x="995" y="1167"/>
                    <a:pt x="995" y="1167"/>
                  </a:cubicBezTo>
                  <a:cubicBezTo>
                    <a:pt x="994" y="1165"/>
                    <a:pt x="991" y="1165"/>
                    <a:pt x="989" y="1165"/>
                  </a:cubicBezTo>
                  <a:cubicBezTo>
                    <a:pt x="993" y="1163"/>
                    <a:pt x="998" y="1163"/>
                    <a:pt x="1002" y="1160"/>
                  </a:cubicBezTo>
                  <a:cubicBezTo>
                    <a:pt x="1005" y="1157"/>
                    <a:pt x="1010" y="1152"/>
                    <a:pt x="1011" y="1148"/>
                  </a:cubicBezTo>
                  <a:cubicBezTo>
                    <a:pt x="1011" y="1144"/>
                    <a:pt x="1009" y="1144"/>
                    <a:pt x="1006" y="1144"/>
                  </a:cubicBezTo>
                  <a:cubicBezTo>
                    <a:pt x="1003" y="1144"/>
                    <a:pt x="1001" y="1145"/>
                    <a:pt x="998" y="1145"/>
                  </a:cubicBezTo>
                  <a:cubicBezTo>
                    <a:pt x="994" y="1145"/>
                    <a:pt x="991" y="1144"/>
                    <a:pt x="988" y="1144"/>
                  </a:cubicBezTo>
                  <a:cubicBezTo>
                    <a:pt x="987" y="1144"/>
                    <a:pt x="986" y="1145"/>
                    <a:pt x="986" y="1145"/>
                  </a:cubicBezTo>
                  <a:cubicBezTo>
                    <a:pt x="984" y="1148"/>
                    <a:pt x="983" y="1151"/>
                    <a:pt x="979" y="1153"/>
                  </a:cubicBezTo>
                  <a:cubicBezTo>
                    <a:pt x="978" y="1154"/>
                    <a:pt x="978" y="1154"/>
                    <a:pt x="977" y="1155"/>
                  </a:cubicBezTo>
                  <a:cubicBezTo>
                    <a:pt x="975" y="1156"/>
                    <a:pt x="974" y="1155"/>
                    <a:pt x="975" y="1153"/>
                  </a:cubicBezTo>
                  <a:cubicBezTo>
                    <a:pt x="977" y="1151"/>
                    <a:pt x="976" y="1149"/>
                    <a:pt x="978" y="1147"/>
                  </a:cubicBezTo>
                  <a:cubicBezTo>
                    <a:pt x="981" y="1143"/>
                    <a:pt x="987" y="1141"/>
                    <a:pt x="990" y="1137"/>
                  </a:cubicBezTo>
                  <a:cubicBezTo>
                    <a:pt x="993" y="1133"/>
                    <a:pt x="995" y="1127"/>
                    <a:pt x="995" y="1123"/>
                  </a:cubicBezTo>
                  <a:cubicBezTo>
                    <a:pt x="995" y="1122"/>
                    <a:pt x="994" y="1121"/>
                    <a:pt x="993" y="1120"/>
                  </a:cubicBezTo>
                  <a:cubicBezTo>
                    <a:pt x="991" y="1118"/>
                    <a:pt x="990" y="1116"/>
                    <a:pt x="989" y="1113"/>
                  </a:cubicBezTo>
                  <a:cubicBezTo>
                    <a:pt x="988" y="1111"/>
                    <a:pt x="985" y="1110"/>
                    <a:pt x="984" y="1108"/>
                  </a:cubicBezTo>
                  <a:cubicBezTo>
                    <a:pt x="982" y="1105"/>
                    <a:pt x="983" y="1100"/>
                    <a:pt x="982" y="1097"/>
                  </a:cubicBezTo>
                  <a:cubicBezTo>
                    <a:pt x="982" y="1093"/>
                    <a:pt x="978" y="1092"/>
                    <a:pt x="975" y="1090"/>
                  </a:cubicBezTo>
                  <a:cubicBezTo>
                    <a:pt x="972" y="1089"/>
                    <a:pt x="970" y="1086"/>
                    <a:pt x="967" y="1085"/>
                  </a:cubicBezTo>
                  <a:cubicBezTo>
                    <a:pt x="964" y="1084"/>
                    <a:pt x="962" y="1083"/>
                    <a:pt x="959" y="1083"/>
                  </a:cubicBezTo>
                  <a:cubicBezTo>
                    <a:pt x="957" y="1083"/>
                    <a:pt x="955" y="1081"/>
                    <a:pt x="953" y="1081"/>
                  </a:cubicBezTo>
                  <a:cubicBezTo>
                    <a:pt x="951" y="1081"/>
                    <a:pt x="950" y="1078"/>
                    <a:pt x="947" y="1078"/>
                  </a:cubicBezTo>
                  <a:cubicBezTo>
                    <a:pt x="943" y="1076"/>
                    <a:pt x="938" y="1076"/>
                    <a:pt x="933" y="1077"/>
                  </a:cubicBezTo>
                  <a:cubicBezTo>
                    <a:pt x="930" y="1078"/>
                    <a:pt x="928" y="1080"/>
                    <a:pt x="925" y="1079"/>
                  </a:cubicBezTo>
                  <a:cubicBezTo>
                    <a:pt x="922" y="1079"/>
                    <a:pt x="920" y="1078"/>
                    <a:pt x="918" y="1078"/>
                  </a:cubicBezTo>
                  <a:cubicBezTo>
                    <a:pt x="916" y="1078"/>
                    <a:pt x="915" y="1078"/>
                    <a:pt x="914" y="1079"/>
                  </a:cubicBezTo>
                  <a:cubicBezTo>
                    <a:pt x="914" y="1078"/>
                    <a:pt x="914" y="1076"/>
                    <a:pt x="914" y="1075"/>
                  </a:cubicBezTo>
                  <a:cubicBezTo>
                    <a:pt x="913" y="1072"/>
                    <a:pt x="908" y="1071"/>
                    <a:pt x="906" y="1070"/>
                  </a:cubicBezTo>
                  <a:cubicBezTo>
                    <a:pt x="903" y="1068"/>
                    <a:pt x="901" y="1068"/>
                    <a:pt x="899" y="1070"/>
                  </a:cubicBezTo>
                  <a:cubicBezTo>
                    <a:pt x="897" y="1071"/>
                    <a:pt x="894" y="1072"/>
                    <a:pt x="897" y="1069"/>
                  </a:cubicBezTo>
                  <a:cubicBezTo>
                    <a:pt x="898" y="1068"/>
                    <a:pt x="899" y="1067"/>
                    <a:pt x="900" y="1065"/>
                  </a:cubicBezTo>
                  <a:cubicBezTo>
                    <a:pt x="902" y="1063"/>
                    <a:pt x="898" y="1060"/>
                    <a:pt x="897" y="1059"/>
                  </a:cubicBezTo>
                  <a:cubicBezTo>
                    <a:pt x="896" y="1058"/>
                    <a:pt x="894" y="1057"/>
                    <a:pt x="892" y="1056"/>
                  </a:cubicBezTo>
                  <a:cubicBezTo>
                    <a:pt x="888" y="1055"/>
                    <a:pt x="890" y="1054"/>
                    <a:pt x="888" y="1052"/>
                  </a:cubicBezTo>
                  <a:cubicBezTo>
                    <a:pt x="887" y="1051"/>
                    <a:pt x="886" y="1051"/>
                    <a:pt x="885" y="1050"/>
                  </a:cubicBezTo>
                  <a:cubicBezTo>
                    <a:pt x="882" y="1050"/>
                    <a:pt x="881" y="1047"/>
                    <a:pt x="878" y="1047"/>
                  </a:cubicBezTo>
                  <a:cubicBezTo>
                    <a:pt x="876" y="1046"/>
                    <a:pt x="875" y="1047"/>
                    <a:pt x="873" y="1048"/>
                  </a:cubicBezTo>
                  <a:cubicBezTo>
                    <a:pt x="872" y="1048"/>
                    <a:pt x="869" y="1048"/>
                    <a:pt x="868" y="1048"/>
                  </a:cubicBezTo>
                  <a:cubicBezTo>
                    <a:pt x="870" y="1047"/>
                    <a:pt x="871" y="1046"/>
                    <a:pt x="872" y="1044"/>
                  </a:cubicBezTo>
                  <a:cubicBezTo>
                    <a:pt x="872" y="1040"/>
                    <a:pt x="865" y="1038"/>
                    <a:pt x="862" y="1036"/>
                  </a:cubicBezTo>
                  <a:cubicBezTo>
                    <a:pt x="860" y="1035"/>
                    <a:pt x="858" y="1034"/>
                    <a:pt x="856" y="1034"/>
                  </a:cubicBezTo>
                  <a:cubicBezTo>
                    <a:pt x="854" y="1034"/>
                    <a:pt x="853" y="1033"/>
                    <a:pt x="852" y="1033"/>
                  </a:cubicBezTo>
                  <a:cubicBezTo>
                    <a:pt x="847" y="1030"/>
                    <a:pt x="852" y="1028"/>
                    <a:pt x="854" y="1028"/>
                  </a:cubicBezTo>
                  <a:cubicBezTo>
                    <a:pt x="855" y="1027"/>
                    <a:pt x="860" y="1026"/>
                    <a:pt x="859" y="1024"/>
                  </a:cubicBezTo>
                  <a:cubicBezTo>
                    <a:pt x="859" y="1024"/>
                    <a:pt x="859" y="1024"/>
                    <a:pt x="859" y="1024"/>
                  </a:cubicBezTo>
                  <a:cubicBezTo>
                    <a:pt x="854" y="1023"/>
                    <a:pt x="847" y="1024"/>
                    <a:pt x="843" y="1024"/>
                  </a:cubicBezTo>
                  <a:cubicBezTo>
                    <a:pt x="840" y="1024"/>
                    <a:pt x="838" y="1024"/>
                    <a:pt x="836" y="1025"/>
                  </a:cubicBezTo>
                  <a:cubicBezTo>
                    <a:pt x="833" y="1027"/>
                    <a:pt x="830" y="1027"/>
                    <a:pt x="827" y="1029"/>
                  </a:cubicBezTo>
                  <a:cubicBezTo>
                    <a:pt x="822" y="1031"/>
                    <a:pt x="817" y="1032"/>
                    <a:pt x="812" y="1029"/>
                  </a:cubicBezTo>
                  <a:cubicBezTo>
                    <a:pt x="810" y="1028"/>
                    <a:pt x="808" y="1027"/>
                    <a:pt x="806" y="1027"/>
                  </a:cubicBezTo>
                  <a:cubicBezTo>
                    <a:pt x="801" y="1027"/>
                    <a:pt x="795" y="1027"/>
                    <a:pt x="790" y="1029"/>
                  </a:cubicBezTo>
                  <a:cubicBezTo>
                    <a:pt x="783" y="1031"/>
                    <a:pt x="786" y="1023"/>
                    <a:pt x="786" y="1021"/>
                  </a:cubicBezTo>
                  <a:cubicBezTo>
                    <a:pt x="785" y="1019"/>
                    <a:pt x="784" y="1018"/>
                    <a:pt x="783" y="1018"/>
                  </a:cubicBezTo>
                  <a:cubicBezTo>
                    <a:pt x="779" y="1016"/>
                    <a:pt x="768" y="1018"/>
                    <a:pt x="768" y="1013"/>
                  </a:cubicBezTo>
                  <a:cubicBezTo>
                    <a:pt x="768" y="1004"/>
                    <a:pt x="756" y="1010"/>
                    <a:pt x="758" y="1014"/>
                  </a:cubicBezTo>
                  <a:cubicBezTo>
                    <a:pt x="758" y="1015"/>
                    <a:pt x="758" y="1015"/>
                    <a:pt x="759" y="1015"/>
                  </a:cubicBezTo>
                  <a:cubicBezTo>
                    <a:pt x="760" y="1016"/>
                    <a:pt x="760" y="1015"/>
                    <a:pt x="761" y="1015"/>
                  </a:cubicBezTo>
                  <a:cubicBezTo>
                    <a:pt x="761" y="1016"/>
                    <a:pt x="762" y="1017"/>
                    <a:pt x="762" y="1017"/>
                  </a:cubicBezTo>
                  <a:cubicBezTo>
                    <a:pt x="762" y="1017"/>
                    <a:pt x="761" y="1017"/>
                    <a:pt x="760" y="1018"/>
                  </a:cubicBezTo>
                  <a:cubicBezTo>
                    <a:pt x="757" y="1018"/>
                    <a:pt x="755" y="1020"/>
                    <a:pt x="752" y="1020"/>
                  </a:cubicBezTo>
                  <a:cubicBezTo>
                    <a:pt x="749" y="1021"/>
                    <a:pt x="747" y="1021"/>
                    <a:pt x="745" y="1022"/>
                  </a:cubicBezTo>
                  <a:cubicBezTo>
                    <a:pt x="742" y="1024"/>
                    <a:pt x="743" y="1030"/>
                    <a:pt x="743" y="1033"/>
                  </a:cubicBezTo>
                  <a:cubicBezTo>
                    <a:pt x="744" y="1035"/>
                    <a:pt x="743" y="1038"/>
                    <a:pt x="745" y="1040"/>
                  </a:cubicBezTo>
                  <a:cubicBezTo>
                    <a:pt x="746" y="1043"/>
                    <a:pt x="743" y="1044"/>
                    <a:pt x="741" y="1045"/>
                  </a:cubicBezTo>
                  <a:cubicBezTo>
                    <a:pt x="737" y="1047"/>
                    <a:pt x="738" y="1044"/>
                    <a:pt x="737" y="1042"/>
                  </a:cubicBezTo>
                  <a:cubicBezTo>
                    <a:pt x="736" y="1041"/>
                    <a:pt x="736" y="1041"/>
                    <a:pt x="735" y="1040"/>
                  </a:cubicBezTo>
                  <a:cubicBezTo>
                    <a:pt x="734" y="1038"/>
                    <a:pt x="735" y="1037"/>
                    <a:pt x="737" y="1035"/>
                  </a:cubicBezTo>
                  <a:cubicBezTo>
                    <a:pt x="739" y="1034"/>
                    <a:pt x="741" y="1033"/>
                    <a:pt x="741" y="1032"/>
                  </a:cubicBezTo>
                  <a:cubicBezTo>
                    <a:pt x="742" y="1030"/>
                    <a:pt x="742" y="1029"/>
                    <a:pt x="742" y="1027"/>
                  </a:cubicBezTo>
                  <a:cubicBezTo>
                    <a:pt x="741" y="1025"/>
                    <a:pt x="742" y="1022"/>
                    <a:pt x="741" y="1020"/>
                  </a:cubicBezTo>
                  <a:cubicBezTo>
                    <a:pt x="741" y="1020"/>
                    <a:pt x="740" y="1020"/>
                    <a:pt x="740" y="1019"/>
                  </a:cubicBezTo>
                  <a:cubicBezTo>
                    <a:pt x="735" y="1017"/>
                    <a:pt x="739" y="1015"/>
                    <a:pt x="741" y="1015"/>
                  </a:cubicBezTo>
                  <a:cubicBezTo>
                    <a:pt x="743" y="1014"/>
                    <a:pt x="745" y="1013"/>
                    <a:pt x="746" y="1012"/>
                  </a:cubicBezTo>
                  <a:cubicBezTo>
                    <a:pt x="749" y="1010"/>
                    <a:pt x="751" y="1008"/>
                    <a:pt x="748" y="1005"/>
                  </a:cubicBezTo>
                  <a:cubicBezTo>
                    <a:pt x="744" y="1001"/>
                    <a:pt x="741" y="1006"/>
                    <a:pt x="737" y="1007"/>
                  </a:cubicBezTo>
                  <a:cubicBezTo>
                    <a:pt x="735" y="1007"/>
                    <a:pt x="734" y="1007"/>
                    <a:pt x="733" y="1008"/>
                  </a:cubicBezTo>
                  <a:cubicBezTo>
                    <a:pt x="731" y="1012"/>
                    <a:pt x="729" y="1014"/>
                    <a:pt x="725" y="1015"/>
                  </a:cubicBezTo>
                  <a:cubicBezTo>
                    <a:pt x="724" y="1016"/>
                    <a:pt x="722" y="1016"/>
                    <a:pt x="721" y="1017"/>
                  </a:cubicBezTo>
                  <a:cubicBezTo>
                    <a:pt x="718" y="1018"/>
                    <a:pt x="717" y="1017"/>
                    <a:pt x="715" y="1017"/>
                  </a:cubicBezTo>
                  <a:cubicBezTo>
                    <a:pt x="713" y="1017"/>
                    <a:pt x="710" y="1016"/>
                    <a:pt x="709" y="1017"/>
                  </a:cubicBezTo>
                  <a:cubicBezTo>
                    <a:pt x="707" y="1019"/>
                    <a:pt x="707" y="1021"/>
                    <a:pt x="707" y="1023"/>
                  </a:cubicBezTo>
                  <a:cubicBezTo>
                    <a:pt x="707" y="1023"/>
                    <a:pt x="707" y="1024"/>
                    <a:pt x="707" y="1024"/>
                  </a:cubicBezTo>
                  <a:cubicBezTo>
                    <a:pt x="707" y="1023"/>
                    <a:pt x="707" y="1022"/>
                    <a:pt x="706" y="1021"/>
                  </a:cubicBezTo>
                  <a:cubicBezTo>
                    <a:pt x="706" y="1020"/>
                    <a:pt x="705" y="1019"/>
                    <a:pt x="704" y="1019"/>
                  </a:cubicBezTo>
                  <a:cubicBezTo>
                    <a:pt x="702" y="1020"/>
                    <a:pt x="700" y="1021"/>
                    <a:pt x="698" y="1023"/>
                  </a:cubicBezTo>
                  <a:cubicBezTo>
                    <a:pt x="696" y="1025"/>
                    <a:pt x="692" y="1027"/>
                    <a:pt x="691" y="1029"/>
                  </a:cubicBezTo>
                  <a:cubicBezTo>
                    <a:pt x="689" y="1031"/>
                    <a:pt x="688" y="1033"/>
                    <a:pt x="687" y="1036"/>
                  </a:cubicBezTo>
                  <a:cubicBezTo>
                    <a:pt x="687" y="1038"/>
                    <a:pt x="693" y="1041"/>
                    <a:pt x="687" y="1042"/>
                  </a:cubicBezTo>
                  <a:cubicBezTo>
                    <a:pt x="684" y="1043"/>
                    <a:pt x="684" y="1044"/>
                    <a:pt x="682" y="1047"/>
                  </a:cubicBezTo>
                  <a:cubicBezTo>
                    <a:pt x="679" y="1050"/>
                    <a:pt x="676" y="1049"/>
                    <a:pt x="673" y="1052"/>
                  </a:cubicBezTo>
                  <a:cubicBezTo>
                    <a:pt x="673" y="1052"/>
                    <a:pt x="673" y="1052"/>
                    <a:pt x="673" y="1052"/>
                  </a:cubicBezTo>
                  <a:cubicBezTo>
                    <a:pt x="674" y="1054"/>
                    <a:pt x="675" y="1055"/>
                    <a:pt x="676" y="1056"/>
                  </a:cubicBezTo>
                  <a:cubicBezTo>
                    <a:pt x="677" y="1057"/>
                    <a:pt x="677" y="1058"/>
                    <a:pt x="678" y="1059"/>
                  </a:cubicBezTo>
                  <a:cubicBezTo>
                    <a:pt x="675" y="1059"/>
                    <a:pt x="674" y="1058"/>
                    <a:pt x="673" y="1057"/>
                  </a:cubicBezTo>
                  <a:cubicBezTo>
                    <a:pt x="673" y="1056"/>
                    <a:pt x="672" y="1054"/>
                    <a:pt x="671" y="1054"/>
                  </a:cubicBezTo>
                  <a:cubicBezTo>
                    <a:pt x="668" y="1051"/>
                    <a:pt x="666" y="1049"/>
                    <a:pt x="664" y="1045"/>
                  </a:cubicBezTo>
                  <a:cubicBezTo>
                    <a:pt x="662" y="1043"/>
                    <a:pt x="662" y="1043"/>
                    <a:pt x="659" y="1042"/>
                  </a:cubicBezTo>
                  <a:cubicBezTo>
                    <a:pt x="655" y="1042"/>
                    <a:pt x="648" y="1036"/>
                    <a:pt x="644" y="1039"/>
                  </a:cubicBezTo>
                  <a:cubicBezTo>
                    <a:pt x="641" y="1040"/>
                    <a:pt x="639" y="1043"/>
                    <a:pt x="636" y="1043"/>
                  </a:cubicBezTo>
                  <a:cubicBezTo>
                    <a:pt x="633" y="1044"/>
                    <a:pt x="631" y="1047"/>
                    <a:pt x="627" y="1048"/>
                  </a:cubicBezTo>
                  <a:cubicBezTo>
                    <a:pt x="623" y="1048"/>
                    <a:pt x="620" y="1047"/>
                    <a:pt x="616" y="1046"/>
                  </a:cubicBezTo>
                  <a:cubicBezTo>
                    <a:pt x="615" y="1045"/>
                    <a:pt x="614" y="1046"/>
                    <a:pt x="613" y="1046"/>
                  </a:cubicBezTo>
                  <a:cubicBezTo>
                    <a:pt x="612" y="1047"/>
                    <a:pt x="607" y="1044"/>
                    <a:pt x="606" y="1043"/>
                  </a:cubicBezTo>
                  <a:cubicBezTo>
                    <a:pt x="602" y="1041"/>
                    <a:pt x="600" y="1037"/>
                    <a:pt x="598" y="1034"/>
                  </a:cubicBezTo>
                  <a:cubicBezTo>
                    <a:pt x="596" y="1031"/>
                    <a:pt x="595" y="1029"/>
                    <a:pt x="594" y="1027"/>
                  </a:cubicBezTo>
                  <a:cubicBezTo>
                    <a:pt x="592" y="1024"/>
                    <a:pt x="590" y="1023"/>
                    <a:pt x="591" y="1020"/>
                  </a:cubicBezTo>
                  <a:cubicBezTo>
                    <a:pt x="592" y="1018"/>
                    <a:pt x="592" y="1017"/>
                    <a:pt x="592" y="1016"/>
                  </a:cubicBezTo>
                  <a:cubicBezTo>
                    <a:pt x="592" y="1014"/>
                    <a:pt x="590" y="1014"/>
                    <a:pt x="590" y="1011"/>
                  </a:cubicBezTo>
                  <a:cubicBezTo>
                    <a:pt x="590" y="1011"/>
                    <a:pt x="589" y="1006"/>
                    <a:pt x="592" y="1008"/>
                  </a:cubicBezTo>
                  <a:cubicBezTo>
                    <a:pt x="592" y="1008"/>
                    <a:pt x="593" y="1008"/>
                    <a:pt x="593" y="1008"/>
                  </a:cubicBezTo>
                  <a:cubicBezTo>
                    <a:pt x="594" y="1008"/>
                    <a:pt x="594" y="1008"/>
                    <a:pt x="594" y="1008"/>
                  </a:cubicBezTo>
                  <a:cubicBezTo>
                    <a:pt x="595" y="1004"/>
                    <a:pt x="595" y="999"/>
                    <a:pt x="595" y="995"/>
                  </a:cubicBezTo>
                  <a:cubicBezTo>
                    <a:pt x="595" y="992"/>
                    <a:pt x="597" y="990"/>
                    <a:pt x="597" y="987"/>
                  </a:cubicBezTo>
                  <a:cubicBezTo>
                    <a:pt x="597" y="987"/>
                    <a:pt x="597" y="986"/>
                    <a:pt x="597" y="985"/>
                  </a:cubicBezTo>
                  <a:cubicBezTo>
                    <a:pt x="598" y="984"/>
                    <a:pt x="598" y="982"/>
                    <a:pt x="598" y="981"/>
                  </a:cubicBezTo>
                  <a:cubicBezTo>
                    <a:pt x="598" y="978"/>
                    <a:pt x="599" y="977"/>
                    <a:pt x="600" y="974"/>
                  </a:cubicBezTo>
                  <a:cubicBezTo>
                    <a:pt x="600" y="973"/>
                    <a:pt x="600" y="972"/>
                    <a:pt x="600" y="971"/>
                  </a:cubicBezTo>
                  <a:cubicBezTo>
                    <a:pt x="599" y="970"/>
                    <a:pt x="597" y="967"/>
                    <a:pt x="595" y="967"/>
                  </a:cubicBezTo>
                  <a:cubicBezTo>
                    <a:pt x="593" y="968"/>
                    <a:pt x="592" y="969"/>
                    <a:pt x="589" y="969"/>
                  </a:cubicBezTo>
                  <a:cubicBezTo>
                    <a:pt x="587" y="969"/>
                    <a:pt x="589" y="968"/>
                    <a:pt x="590" y="967"/>
                  </a:cubicBezTo>
                  <a:cubicBezTo>
                    <a:pt x="591" y="967"/>
                    <a:pt x="591" y="965"/>
                    <a:pt x="591" y="965"/>
                  </a:cubicBezTo>
                  <a:cubicBezTo>
                    <a:pt x="587" y="962"/>
                    <a:pt x="584" y="961"/>
                    <a:pt x="580" y="961"/>
                  </a:cubicBezTo>
                  <a:cubicBezTo>
                    <a:pt x="574" y="961"/>
                    <a:pt x="569" y="959"/>
                    <a:pt x="564" y="959"/>
                  </a:cubicBezTo>
                  <a:cubicBezTo>
                    <a:pt x="564" y="959"/>
                    <a:pt x="563" y="958"/>
                    <a:pt x="563" y="959"/>
                  </a:cubicBezTo>
                  <a:cubicBezTo>
                    <a:pt x="561" y="960"/>
                    <a:pt x="559" y="959"/>
                    <a:pt x="557" y="960"/>
                  </a:cubicBezTo>
                  <a:cubicBezTo>
                    <a:pt x="555" y="961"/>
                    <a:pt x="554" y="961"/>
                    <a:pt x="552" y="962"/>
                  </a:cubicBezTo>
                  <a:cubicBezTo>
                    <a:pt x="549" y="964"/>
                    <a:pt x="546" y="961"/>
                    <a:pt x="544" y="960"/>
                  </a:cubicBezTo>
                  <a:cubicBezTo>
                    <a:pt x="542" y="960"/>
                    <a:pt x="540" y="961"/>
                    <a:pt x="538" y="961"/>
                  </a:cubicBezTo>
                  <a:cubicBezTo>
                    <a:pt x="535" y="961"/>
                    <a:pt x="533" y="960"/>
                    <a:pt x="530" y="960"/>
                  </a:cubicBezTo>
                  <a:cubicBezTo>
                    <a:pt x="527" y="960"/>
                    <a:pt x="531" y="955"/>
                    <a:pt x="533" y="954"/>
                  </a:cubicBezTo>
                  <a:cubicBezTo>
                    <a:pt x="534" y="952"/>
                    <a:pt x="535" y="950"/>
                    <a:pt x="536" y="948"/>
                  </a:cubicBezTo>
                  <a:cubicBezTo>
                    <a:pt x="538" y="945"/>
                    <a:pt x="538" y="941"/>
                    <a:pt x="538" y="937"/>
                  </a:cubicBezTo>
                  <a:cubicBezTo>
                    <a:pt x="538" y="935"/>
                    <a:pt x="540" y="931"/>
                    <a:pt x="537" y="930"/>
                  </a:cubicBezTo>
                  <a:cubicBezTo>
                    <a:pt x="537" y="929"/>
                    <a:pt x="531" y="930"/>
                    <a:pt x="534" y="927"/>
                  </a:cubicBezTo>
                  <a:cubicBezTo>
                    <a:pt x="534" y="926"/>
                    <a:pt x="539" y="922"/>
                    <a:pt x="540" y="926"/>
                  </a:cubicBezTo>
                  <a:cubicBezTo>
                    <a:pt x="540" y="928"/>
                    <a:pt x="541" y="930"/>
                    <a:pt x="543" y="931"/>
                  </a:cubicBezTo>
                  <a:cubicBezTo>
                    <a:pt x="543" y="931"/>
                    <a:pt x="544" y="931"/>
                    <a:pt x="544" y="931"/>
                  </a:cubicBezTo>
                  <a:cubicBezTo>
                    <a:pt x="545" y="929"/>
                    <a:pt x="546" y="927"/>
                    <a:pt x="546" y="925"/>
                  </a:cubicBezTo>
                  <a:cubicBezTo>
                    <a:pt x="547" y="923"/>
                    <a:pt x="548" y="920"/>
                    <a:pt x="549" y="917"/>
                  </a:cubicBezTo>
                  <a:cubicBezTo>
                    <a:pt x="549" y="915"/>
                    <a:pt x="548" y="912"/>
                    <a:pt x="548" y="909"/>
                  </a:cubicBezTo>
                  <a:cubicBezTo>
                    <a:pt x="548" y="904"/>
                    <a:pt x="551" y="901"/>
                    <a:pt x="555" y="899"/>
                  </a:cubicBezTo>
                  <a:cubicBezTo>
                    <a:pt x="558" y="896"/>
                    <a:pt x="560" y="891"/>
                    <a:pt x="560" y="887"/>
                  </a:cubicBezTo>
                  <a:cubicBezTo>
                    <a:pt x="560" y="882"/>
                    <a:pt x="556" y="883"/>
                    <a:pt x="552" y="883"/>
                  </a:cubicBezTo>
                  <a:cubicBezTo>
                    <a:pt x="546" y="883"/>
                    <a:pt x="542" y="881"/>
                    <a:pt x="536" y="883"/>
                  </a:cubicBezTo>
                  <a:cubicBezTo>
                    <a:pt x="532" y="885"/>
                    <a:pt x="529" y="886"/>
                    <a:pt x="524" y="887"/>
                  </a:cubicBezTo>
                  <a:cubicBezTo>
                    <a:pt x="521" y="887"/>
                    <a:pt x="519" y="887"/>
                    <a:pt x="517" y="889"/>
                  </a:cubicBezTo>
                  <a:cubicBezTo>
                    <a:pt x="513" y="891"/>
                    <a:pt x="511" y="893"/>
                    <a:pt x="511" y="898"/>
                  </a:cubicBezTo>
                  <a:cubicBezTo>
                    <a:pt x="510" y="903"/>
                    <a:pt x="510" y="911"/>
                    <a:pt x="506" y="915"/>
                  </a:cubicBezTo>
                  <a:cubicBezTo>
                    <a:pt x="504" y="917"/>
                    <a:pt x="502" y="918"/>
                    <a:pt x="500" y="920"/>
                  </a:cubicBezTo>
                  <a:cubicBezTo>
                    <a:pt x="500" y="920"/>
                    <a:pt x="500" y="921"/>
                    <a:pt x="500" y="921"/>
                  </a:cubicBezTo>
                  <a:cubicBezTo>
                    <a:pt x="500" y="925"/>
                    <a:pt x="494" y="928"/>
                    <a:pt x="492" y="923"/>
                  </a:cubicBezTo>
                  <a:cubicBezTo>
                    <a:pt x="491" y="921"/>
                    <a:pt x="484" y="923"/>
                    <a:pt x="482" y="924"/>
                  </a:cubicBezTo>
                  <a:cubicBezTo>
                    <a:pt x="480" y="924"/>
                    <a:pt x="478" y="924"/>
                    <a:pt x="476" y="925"/>
                  </a:cubicBezTo>
                  <a:cubicBezTo>
                    <a:pt x="473" y="928"/>
                    <a:pt x="471" y="928"/>
                    <a:pt x="467" y="928"/>
                  </a:cubicBezTo>
                  <a:cubicBezTo>
                    <a:pt x="466" y="928"/>
                    <a:pt x="466" y="928"/>
                    <a:pt x="465" y="928"/>
                  </a:cubicBezTo>
                  <a:cubicBezTo>
                    <a:pt x="462" y="929"/>
                    <a:pt x="460" y="928"/>
                    <a:pt x="458" y="925"/>
                  </a:cubicBezTo>
                  <a:cubicBezTo>
                    <a:pt x="456" y="924"/>
                    <a:pt x="455" y="922"/>
                    <a:pt x="453" y="922"/>
                  </a:cubicBezTo>
                  <a:cubicBezTo>
                    <a:pt x="449" y="921"/>
                    <a:pt x="447" y="919"/>
                    <a:pt x="445" y="916"/>
                  </a:cubicBezTo>
                  <a:cubicBezTo>
                    <a:pt x="443" y="914"/>
                    <a:pt x="443" y="916"/>
                    <a:pt x="441" y="913"/>
                  </a:cubicBezTo>
                  <a:cubicBezTo>
                    <a:pt x="440" y="912"/>
                    <a:pt x="440" y="910"/>
                    <a:pt x="440" y="909"/>
                  </a:cubicBezTo>
                  <a:cubicBezTo>
                    <a:pt x="440" y="907"/>
                    <a:pt x="439" y="906"/>
                    <a:pt x="437" y="904"/>
                  </a:cubicBezTo>
                  <a:cubicBezTo>
                    <a:pt x="437" y="904"/>
                    <a:pt x="436" y="903"/>
                    <a:pt x="435" y="902"/>
                  </a:cubicBezTo>
                  <a:cubicBezTo>
                    <a:pt x="431" y="900"/>
                    <a:pt x="430" y="897"/>
                    <a:pt x="430" y="893"/>
                  </a:cubicBezTo>
                  <a:cubicBezTo>
                    <a:pt x="430" y="890"/>
                    <a:pt x="430" y="888"/>
                    <a:pt x="429" y="886"/>
                  </a:cubicBezTo>
                  <a:cubicBezTo>
                    <a:pt x="429" y="883"/>
                    <a:pt x="427" y="881"/>
                    <a:pt x="426" y="878"/>
                  </a:cubicBezTo>
                  <a:cubicBezTo>
                    <a:pt x="425" y="875"/>
                    <a:pt x="428" y="872"/>
                    <a:pt x="428" y="869"/>
                  </a:cubicBezTo>
                  <a:cubicBezTo>
                    <a:pt x="428" y="865"/>
                    <a:pt x="428" y="861"/>
                    <a:pt x="428" y="856"/>
                  </a:cubicBezTo>
                  <a:cubicBezTo>
                    <a:pt x="428" y="850"/>
                    <a:pt x="428" y="844"/>
                    <a:pt x="429" y="838"/>
                  </a:cubicBezTo>
                  <a:cubicBezTo>
                    <a:pt x="429" y="836"/>
                    <a:pt x="429" y="834"/>
                    <a:pt x="429" y="831"/>
                  </a:cubicBezTo>
                  <a:cubicBezTo>
                    <a:pt x="431" y="832"/>
                    <a:pt x="434" y="832"/>
                    <a:pt x="435" y="830"/>
                  </a:cubicBezTo>
                  <a:cubicBezTo>
                    <a:pt x="438" y="828"/>
                    <a:pt x="437" y="824"/>
                    <a:pt x="436" y="821"/>
                  </a:cubicBezTo>
                  <a:cubicBezTo>
                    <a:pt x="435" y="818"/>
                    <a:pt x="434" y="815"/>
                    <a:pt x="434" y="812"/>
                  </a:cubicBezTo>
                  <a:cubicBezTo>
                    <a:pt x="434" y="809"/>
                    <a:pt x="435" y="806"/>
                    <a:pt x="436" y="803"/>
                  </a:cubicBezTo>
                  <a:cubicBezTo>
                    <a:pt x="437" y="800"/>
                    <a:pt x="437" y="796"/>
                    <a:pt x="440" y="793"/>
                  </a:cubicBezTo>
                  <a:cubicBezTo>
                    <a:pt x="441" y="791"/>
                    <a:pt x="442" y="790"/>
                    <a:pt x="443" y="788"/>
                  </a:cubicBezTo>
                  <a:cubicBezTo>
                    <a:pt x="445" y="782"/>
                    <a:pt x="451" y="783"/>
                    <a:pt x="456" y="783"/>
                  </a:cubicBezTo>
                  <a:cubicBezTo>
                    <a:pt x="457" y="783"/>
                    <a:pt x="458" y="782"/>
                    <a:pt x="459" y="781"/>
                  </a:cubicBezTo>
                  <a:cubicBezTo>
                    <a:pt x="461" y="780"/>
                    <a:pt x="463" y="780"/>
                    <a:pt x="464" y="779"/>
                  </a:cubicBezTo>
                  <a:cubicBezTo>
                    <a:pt x="466" y="777"/>
                    <a:pt x="466" y="773"/>
                    <a:pt x="471" y="773"/>
                  </a:cubicBezTo>
                  <a:cubicBezTo>
                    <a:pt x="472" y="773"/>
                    <a:pt x="473" y="772"/>
                    <a:pt x="473" y="772"/>
                  </a:cubicBezTo>
                  <a:cubicBezTo>
                    <a:pt x="476" y="770"/>
                    <a:pt x="479" y="770"/>
                    <a:pt x="483" y="769"/>
                  </a:cubicBezTo>
                  <a:cubicBezTo>
                    <a:pt x="486" y="769"/>
                    <a:pt x="488" y="768"/>
                    <a:pt x="491" y="769"/>
                  </a:cubicBezTo>
                  <a:cubicBezTo>
                    <a:pt x="495" y="769"/>
                    <a:pt x="497" y="771"/>
                    <a:pt x="500" y="771"/>
                  </a:cubicBezTo>
                  <a:cubicBezTo>
                    <a:pt x="502" y="772"/>
                    <a:pt x="502" y="771"/>
                    <a:pt x="503" y="770"/>
                  </a:cubicBezTo>
                  <a:cubicBezTo>
                    <a:pt x="503" y="768"/>
                    <a:pt x="504" y="770"/>
                    <a:pt x="505" y="770"/>
                  </a:cubicBezTo>
                  <a:cubicBezTo>
                    <a:pt x="508" y="771"/>
                    <a:pt x="510" y="771"/>
                    <a:pt x="512" y="774"/>
                  </a:cubicBezTo>
                  <a:cubicBezTo>
                    <a:pt x="514" y="776"/>
                    <a:pt x="515" y="778"/>
                    <a:pt x="518" y="778"/>
                  </a:cubicBezTo>
                  <a:cubicBezTo>
                    <a:pt x="521" y="777"/>
                    <a:pt x="522" y="776"/>
                    <a:pt x="525" y="777"/>
                  </a:cubicBezTo>
                  <a:cubicBezTo>
                    <a:pt x="526" y="778"/>
                    <a:pt x="528" y="778"/>
                    <a:pt x="529" y="777"/>
                  </a:cubicBezTo>
                  <a:cubicBezTo>
                    <a:pt x="529" y="777"/>
                    <a:pt x="529" y="776"/>
                    <a:pt x="529" y="776"/>
                  </a:cubicBezTo>
                  <a:cubicBezTo>
                    <a:pt x="529" y="775"/>
                    <a:pt x="531" y="777"/>
                    <a:pt x="532" y="777"/>
                  </a:cubicBezTo>
                  <a:cubicBezTo>
                    <a:pt x="533" y="777"/>
                    <a:pt x="538" y="782"/>
                    <a:pt x="540" y="779"/>
                  </a:cubicBezTo>
                  <a:cubicBezTo>
                    <a:pt x="542" y="776"/>
                    <a:pt x="538" y="776"/>
                    <a:pt x="537" y="773"/>
                  </a:cubicBezTo>
                  <a:cubicBezTo>
                    <a:pt x="536" y="772"/>
                    <a:pt x="535" y="771"/>
                    <a:pt x="534" y="769"/>
                  </a:cubicBezTo>
                  <a:cubicBezTo>
                    <a:pt x="536" y="770"/>
                    <a:pt x="537" y="769"/>
                    <a:pt x="537" y="768"/>
                  </a:cubicBezTo>
                  <a:cubicBezTo>
                    <a:pt x="538" y="765"/>
                    <a:pt x="531" y="765"/>
                    <a:pt x="534" y="763"/>
                  </a:cubicBezTo>
                  <a:cubicBezTo>
                    <a:pt x="537" y="761"/>
                    <a:pt x="539" y="761"/>
                    <a:pt x="542" y="759"/>
                  </a:cubicBezTo>
                  <a:cubicBezTo>
                    <a:pt x="545" y="757"/>
                    <a:pt x="551" y="756"/>
                    <a:pt x="553" y="759"/>
                  </a:cubicBezTo>
                  <a:cubicBezTo>
                    <a:pt x="557" y="762"/>
                    <a:pt x="563" y="758"/>
                    <a:pt x="567" y="759"/>
                  </a:cubicBezTo>
                  <a:cubicBezTo>
                    <a:pt x="570" y="760"/>
                    <a:pt x="572" y="760"/>
                    <a:pt x="575" y="760"/>
                  </a:cubicBezTo>
                  <a:cubicBezTo>
                    <a:pt x="579" y="760"/>
                    <a:pt x="583" y="759"/>
                    <a:pt x="585" y="763"/>
                  </a:cubicBezTo>
                  <a:cubicBezTo>
                    <a:pt x="586" y="766"/>
                    <a:pt x="590" y="769"/>
                    <a:pt x="593" y="767"/>
                  </a:cubicBezTo>
                  <a:cubicBezTo>
                    <a:pt x="596" y="766"/>
                    <a:pt x="600" y="762"/>
                    <a:pt x="604" y="764"/>
                  </a:cubicBezTo>
                  <a:cubicBezTo>
                    <a:pt x="607" y="766"/>
                    <a:pt x="608" y="769"/>
                    <a:pt x="610" y="773"/>
                  </a:cubicBezTo>
                  <a:cubicBezTo>
                    <a:pt x="611" y="775"/>
                    <a:pt x="612" y="775"/>
                    <a:pt x="614" y="777"/>
                  </a:cubicBezTo>
                  <a:cubicBezTo>
                    <a:pt x="620" y="780"/>
                    <a:pt x="617" y="787"/>
                    <a:pt x="615" y="792"/>
                  </a:cubicBezTo>
                  <a:cubicBezTo>
                    <a:pt x="615" y="792"/>
                    <a:pt x="615" y="796"/>
                    <a:pt x="617" y="795"/>
                  </a:cubicBezTo>
                  <a:cubicBezTo>
                    <a:pt x="619" y="795"/>
                    <a:pt x="618" y="799"/>
                    <a:pt x="617" y="800"/>
                  </a:cubicBezTo>
                  <a:cubicBezTo>
                    <a:pt x="617" y="802"/>
                    <a:pt x="617" y="805"/>
                    <a:pt x="618" y="808"/>
                  </a:cubicBezTo>
                  <a:cubicBezTo>
                    <a:pt x="619" y="810"/>
                    <a:pt x="622" y="813"/>
                    <a:pt x="623" y="815"/>
                  </a:cubicBezTo>
                  <a:cubicBezTo>
                    <a:pt x="623" y="817"/>
                    <a:pt x="624" y="819"/>
                    <a:pt x="625" y="821"/>
                  </a:cubicBezTo>
                  <a:cubicBezTo>
                    <a:pt x="627" y="824"/>
                    <a:pt x="627" y="827"/>
                    <a:pt x="629" y="830"/>
                  </a:cubicBezTo>
                  <a:cubicBezTo>
                    <a:pt x="630" y="831"/>
                    <a:pt x="633" y="834"/>
                    <a:pt x="634" y="835"/>
                  </a:cubicBezTo>
                  <a:cubicBezTo>
                    <a:pt x="636" y="836"/>
                    <a:pt x="640" y="838"/>
                    <a:pt x="641" y="835"/>
                  </a:cubicBezTo>
                  <a:cubicBezTo>
                    <a:pt x="645" y="828"/>
                    <a:pt x="647" y="822"/>
                    <a:pt x="649" y="815"/>
                  </a:cubicBezTo>
                  <a:cubicBezTo>
                    <a:pt x="651" y="812"/>
                    <a:pt x="649" y="805"/>
                    <a:pt x="647" y="802"/>
                  </a:cubicBezTo>
                  <a:cubicBezTo>
                    <a:pt x="645" y="799"/>
                    <a:pt x="645" y="797"/>
                    <a:pt x="645" y="793"/>
                  </a:cubicBezTo>
                  <a:cubicBezTo>
                    <a:pt x="645" y="792"/>
                    <a:pt x="646" y="788"/>
                    <a:pt x="645" y="786"/>
                  </a:cubicBezTo>
                  <a:cubicBezTo>
                    <a:pt x="643" y="784"/>
                    <a:pt x="642" y="780"/>
                    <a:pt x="642" y="777"/>
                  </a:cubicBezTo>
                  <a:cubicBezTo>
                    <a:pt x="642" y="775"/>
                    <a:pt x="641" y="773"/>
                    <a:pt x="640" y="771"/>
                  </a:cubicBezTo>
                  <a:cubicBezTo>
                    <a:pt x="640" y="768"/>
                    <a:pt x="640" y="764"/>
                    <a:pt x="641" y="761"/>
                  </a:cubicBezTo>
                  <a:cubicBezTo>
                    <a:pt x="642" y="756"/>
                    <a:pt x="641" y="751"/>
                    <a:pt x="641" y="746"/>
                  </a:cubicBezTo>
                  <a:cubicBezTo>
                    <a:pt x="642" y="744"/>
                    <a:pt x="642" y="742"/>
                    <a:pt x="642" y="740"/>
                  </a:cubicBezTo>
                  <a:cubicBezTo>
                    <a:pt x="645" y="739"/>
                    <a:pt x="647" y="738"/>
                    <a:pt x="649" y="736"/>
                  </a:cubicBezTo>
                  <a:cubicBezTo>
                    <a:pt x="652" y="733"/>
                    <a:pt x="656" y="727"/>
                    <a:pt x="661" y="728"/>
                  </a:cubicBezTo>
                  <a:cubicBezTo>
                    <a:pt x="664" y="728"/>
                    <a:pt x="665" y="727"/>
                    <a:pt x="667" y="725"/>
                  </a:cubicBezTo>
                  <a:cubicBezTo>
                    <a:pt x="673" y="720"/>
                    <a:pt x="678" y="713"/>
                    <a:pt x="685" y="709"/>
                  </a:cubicBezTo>
                  <a:cubicBezTo>
                    <a:pt x="687" y="708"/>
                    <a:pt x="689" y="706"/>
                    <a:pt x="691" y="704"/>
                  </a:cubicBezTo>
                  <a:cubicBezTo>
                    <a:pt x="693" y="702"/>
                    <a:pt x="695" y="700"/>
                    <a:pt x="697" y="699"/>
                  </a:cubicBezTo>
                  <a:cubicBezTo>
                    <a:pt x="699" y="698"/>
                    <a:pt x="701" y="698"/>
                    <a:pt x="703" y="698"/>
                  </a:cubicBezTo>
                  <a:cubicBezTo>
                    <a:pt x="706" y="697"/>
                    <a:pt x="709" y="696"/>
                    <a:pt x="711" y="695"/>
                  </a:cubicBezTo>
                  <a:cubicBezTo>
                    <a:pt x="712" y="695"/>
                    <a:pt x="712" y="694"/>
                    <a:pt x="712" y="694"/>
                  </a:cubicBezTo>
                  <a:cubicBezTo>
                    <a:pt x="713" y="691"/>
                    <a:pt x="714" y="689"/>
                    <a:pt x="715" y="687"/>
                  </a:cubicBezTo>
                  <a:cubicBezTo>
                    <a:pt x="716" y="685"/>
                    <a:pt x="719" y="682"/>
                    <a:pt x="719" y="679"/>
                  </a:cubicBezTo>
                  <a:cubicBezTo>
                    <a:pt x="718" y="675"/>
                    <a:pt x="718" y="671"/>
                    <a:pt x="718" y="667"/>
                  </a:cubicBezTo>
                  <a:cubicBezTo>
                    <a:pt x="718" y="664"/>
                    <a:pt x="716" y="664"/>
                    <a:pt x="716" y="661"/>
                  </a:cubicBezTo>
                  <a:cubicBezTo>
                    <a:pt x="716" y="656"/>
                    <a:pt x="716" y="652"/>
                    <a:pt x="716" y="648"/>
                  </a:cubicBezTo>
                  <a:cubicBezTo>
                    <a:pt x="717" y="644"/>
                    <a:pt x="717" y="640"/>
                    <a:pt x="717" y="636"/>
                  </a:cubicBezTo>
                  <a:cubicBezTo>
                    <a:pt x="717" y="633"/>
                    <a:pt x="716" y="631"/>
                    <a:pt x="717" y="628"/>
                  </a:cubicBezTo>
                  <a:cubicBezTo>
                    <a:pt x="717" y="628"/>
                    <a:pt x="717" y="627"/>
                    <a:pt x="717" y="627"/>
                  </a:cubicBezTo>
                  <a:cubicBezTo>
                    <a:pt x="717" y="628"/>
                    <a:pt x="717" y="628"/>
                    <a:pt x="717" y="629"/>
                  </a:cubicBezTo>
                  <a:cubicBezTo>
                    <a:pt x="717" y="632"/>
                    <a:pt x="719" y="632"/>
                    <a:pt x="718" y="636"/>
                  </a:cubicBezTo>
                  <a:cubicBezTo>
                    <a:pt x="717" y="637"/>
                    <a:pt x="717" y="639"/>
                    <a:pt x="718" y="640"/>
                  </a:cubicBezTo>
                  <a:cubicBezTo>
                    <a:pt x="718" y="642"/>
                    <a:pt x="718" y="643"/>
                    <a:pt x="719" y="645"/>
                  </a:cubicBezTo>
                  <a:cubicBezTo>
                    <a:pt x="721" y="652"/>
                    <a:pt x="719" y="650"/>
                    <a:pt x="719" y="654"/>
                  </a:cubicBezTo>
                  <a:cubicBezTo>
                    <a:pt x="719" y="655"/>
                    <a:pt x="719" y="658"/>
                    <a:pt x="720" y="659"/>
                  </a:cubicBezTo>
                  <a:cubicBezTo>
                    <a:pt x="722" y="659"/>
                    <a:pt x="730" y="644"/>
                    <a:pt x="732" y="643"/>
                  </a:cubicBezTo>
                  <a:cubicBezTo>
                    <a:pt x="733" y="641"/>
                    <a:pt x="735" y="639"/>
                    <a:pt x="734" y="636"/>
                  </a:cubicBezTo>
                  <a:cubicBezTo>
                    <a:pt x="733" y="635"/>
                    <a:pt x="732" y="633"/>
                    <a:pt x="731" y="632"/>
                  </a:cubicBezTo>
                  <a:cubicBezTo>
                    <a:pt x="730" y="630"/>
                    <a:pt x="729" y="626"/>
                    <a:pt x="729" y="623"/>
                  </a:cubicBezTo>
                  <a:cubicBezTo>
                    <a:pt x="730" y="625"/>
                    <a:pt x="732" y="627"/>
                    <a:pt x="733" y="629"/>
                  </a:cubicBezTo>
                  <a:cubicBezTo>
                    <a:pt x="733" y="628"/>
                    <a:pt x="735" y="632"/>
                    <a:pt x="736" y="632"/>
                  </a:cubicBezTo>
                  <a:cubicBezTo>
                    <a:pt x="739" y="633"/>
                    <a:pt x="742" y="627"/>
                    <a:pt x="744" y="625"/>
                  </a:cubicBezTo>
                  <a:cubicBezTo>
                    <a:pt x="747" y="622"/>
                    <a:pt x="750" y="616"/>
                    <a:pt x="750" y="611"/>
                  </a:cubicBezTo>
                  <a:cubicBezTo>
                    <a:pt x="749" y="605"/>
                    <a:pt x="752" y="604"/>
                    <a:pt x="757" y="602"/>
                  </a:cubicBezTo>
                  <a:cubicBezTo>
                    <a:pt x="761" y="601"/>
                    <a:pt x="764" y="599"/>
                    <a:pt x="768" y="598"/>
                  </a:cubicBezTo>
                  <a:cubicBezTo>
                    <a:pt x="771" y="598"/>
                    <a:pt x="775" y="597"/>
                    <a:pt x="778" y="597"/>
                  </a:cubicBezTo>
                  <a:cubicBezTo>
                    <a:pt x="780" y="597"/>
                    <a:pt x="781" y="596"/>
                    <a:pt x="783" y="595"/>
                  </a:cubicBezTo>
                  <a:cubicBezTo>
                    <a:pt x="786" y="592"/>
                    <a:pt x="791" y="593"/>
                    <a:pt x="795" y="593"/>
                  </a:cubicBezTo>
                  <a:cubicBezTo>
                    <a:pt x="796" y="593"/>
                    <a:pt x="798" y="592"/>
                    <a:pt x="799" y="591"/>
                  </a:cubicBezTo>
                  <a:cubicBezTo>
                    <a:pt x="801" y="590"/>
                    <a:pt x="802" y="587"/>
                    <a:pt x="800" y="585"/>
                  </a:cubicBezTo>
                  <a:cubicBezTo>
                    <a:pt x="800" y="585"/>
                    <a:pt x="800" y="585"/>
                    <a:pt x="800" y="585"/>
                  </a:cubicBezTo>
                  <a:cubicBezTo>
                    <a:pt x="798" y="586"/>
                    <a:pt x="797" y="586"/>
                    <a:pt x="795" y="585"/>
                  </a:cubicBezTo>
                  <a:cubicBezTo>
                    <a:pt x="791" y="584"/>
                    <a:pt x="793" y="580"/>
                    <a:pt x="794" y="577"/>
                  </a:cubicBezTo>
                  <a:cubicBezTo>
                    <a:pt x="795" y="576"/>
                    <a:pt x="795" y="575"/>
                    <a:pt x="795" y="574"/>
                  </a:cubicBezTo>
                  <a:cubicBezTo>
                    <a:pt x="795" y="570"/>
                    <a:pt x="797" y="568"/>
                    <a:pt x="799" y="565"/>
                  </a:cubicBezTo>
                  <a:cubicBezTo>
                    <a:pt x="803" y="559"/>
                    <a:pt x="807" y="556"/>
                    <a:pt x="814" y="555"/>
                  </a:cubicBezTo>
                  <a:cubicBezTo>
                    <a:pt x="815" y="555"/>
                    <a:pt x="816" y="555"/>
                    <a:pt x="817" y="554"/>
                  </a:cubicBezTo>
                  <a:cubicBezTo>
                    <a:pt x="820" y="551"/>
                    <a:pt x="822" y="550"/>
                    <a:pt x="826" y="550"/>
                  </a:cubicBezTo>
                  <a:cubicBezTo>
                    <a:pt x="831" y="550"/>
                    <a:pt x="835" y="547"/>
                    <a:pt x="840" y="546"/>
                  </a:cubicBezTo>
                  <a:cubicBezTo>
                    <a:pt x="842" y="546"/>
                    <a:pt x="843" y="544"/>
                    <a:pt x="844" y="542"/>
                  </a:cubicBezTo>
                  <a:cubicBezTo>
                    <a:pt x="845" y="541"/>
                    <a:pt x="844" y="539"/>
                    <a:pt x="843" y="538"/>
                  </a:cubicBezTo>
                  <a:cubicBezTo>
                    <a:pt x="844" y="539"/>
                    <a:pt x="845" y="539"/>
                    <a:pt x="846" y="539"/>
                  </a:cubicBezTo>
                  <a:cubicBezTo>
                    <a:pt x="849" y="540"/>
                    <a:pt x="851" y="538"/>
                    <a:pt x="854" y="538"/>
                  </a:cubicBezTo>
                  <a:cubicBezTo>
                    <a:pt x="857" y="538"/>
                    <a:pt x="860" y="537"/>
                    <a:pt x="862" y="536"/>
                  </a:cubicBezTo>
                  <a:cubicBezTo>
                    <a:pt x="863" y="536"/>
                    <a:pt x="868" y="532"/>
                    <a:pt x="871" y="530"/>
                  </a:cubicBezTo>
                  <a:cubicBezTo>
                    <a:pt x="871" y="533"/>
                    <a:pt x="866" y="537"/>
                    <a:pt x="870" y="537"/>
                  </a:cubicBezTo>
                  <a:cubicBezTo>
                    <a:pt x="871" y="537"/>
                    <a:pt x="873" y="537"/>
                    <a:pt x="874" y="536"/>
                  </a:cubicBezTo>
                  <a:cubicBezTo>
                    <a:pt x="876" y="536"/>
                    <a:pt x="878" y="536"/>
                    <a:pt x="881" y="536"/>
                  </a:cubicBezTo>
                  <a:cubicBezTo>
                    <a:pt x="885" y="536"/>
                    <a:pt x="882" y="537"/>
                    <a:pt x="879" y="537"/>
                  </a:cubicBezTo>
                  <a:cubicBezTo>
                    <a:pt x="875" y="538"/>
                    <a:pt x="873" y="539"/>
                    <a:pt x="869" y="539"/>
                  </a:cubicBezTo>
                  <a:cubicBezTo>
                    <a:pt x="865" y="538"/>
                    <a:pt x="861" y="542"/>
                    <a:pt x="858" y="544"/>
                  </a:cubicBezTo>
                  <a:cubicBezTo>
                    <a:pt x="853" y="546"/>
                    <a:pt x="851" y="547"/>
                    <a:pt x="850" y="552"/>
                  </a:cubicBezTo>
                  <a:cubicBezTo>
                    <a:pt x="849" y="555"/>
                    <a:pt x="850" y="558"/>
                    <a:pt x="852" y="561"/>
                  </a:cubicBezTo>
                  <a:cubicBezTo>
                    <a:pt x="855" y="563"/>
                    <a:pt x="856" y="566"/>
                    <a:pt x="859" y="564"/>
                  </a:cubicBezTo>
                  <a:cubicBezTo>
                    <a:pt x="861" y="564"/>
                    <a:pt x="863" y="562"/>
                    <a:pt x="864" y="561"/>
                  </a:cubicBezTo>
                  <a:cubicBezTo>
                    <a:pt x="865" y="560"/>
                    <a:pt x="866" y="559"/>
                    <a:pt x="867" y="558"/>
                  </a:cubicBezTo>
                  <a:cubicBezTo>
                    <a:pt x="868" y="557"/>
                    <a:pt x="870" y="556"/>
                    <a:pt x="872" y="555"/>
                  </a:cubicBezTo>
                  <a:cubicBezTo>
                    <a:pt x="873" y="555"/>
                    <a:pt x="872" y="553"/>
                    <a:pt x="872" y="552"/>
                  </a:cubicBezTo>
                  <a:cubicBezTo>
                    <a:pt x="872" y="550"/>
                    <a:pt x="873" y="548"/>
                    <a:pt x="874" y="547"/>
                  </a:cubicBezTo>
                  <a:cubicBezTo>
                    <a:pt x="876" y="544"/>
                    <a:pt x="877" y="549"/>
                    <a:pt x="877" y="549"/>
                  </a:cubicBezTo>
                  <a:cubicBezTo>
                    <a:pt x="879" y="553"/>
                    <a:pt x="882" y="552"/>
                    <a:pt x="884" y="550"/>
                  </a:cubicBezTo>
                  <a:cubicBezTo>
                    <a:pt x="891" y="547"/>
                    <a:pt x="898" y="545"/>
                    <a:pt x="905" y="544"/>
                  </a:cubicBezTo>
                  <a:cubicBezTo>
                    <a:pt x="907" y="543"/>
                    <a:pt x="911" y="543"/>
                    <a:pt x="910" y="540"/>
                  </a:cubicBezTo>
                  <a:cubicBezTo>
                    <a:pt x="910" y="537"/>
                    <a:pt x="904" y="536"/>
                    <a:pt x="903" y="533"/>
                  </a:cubicBezTo>
                  <a:cubicBezTo>
                    <a:pt x="903" y="531"/>
                    <a:pt x="900" y="531"/>
                    <a:pt x="898" y="533"/>
                  </a:cubicBezTo>
                  <a:cubicBezTo>
                    <a:pt x="896" y="534"/>
                    <a:pt x="882" y="531"/>
                    <a:pt x="883" y="528"/>
                  </a:cubicBezTo>
                  <a:cubicBezTo>
                    <a:pt x="883" y="528"/>
                    <a:pt x="883" y="528"/>
                    <a:pt x="883" y="528"/>
                  </a:cubicBezTo>
                  <a:cubicBezTo>
                    <a:pt x="882" y="527"/>
                    <a:pt x="882" y="527"/>
                    <a:pt x="881" y="526"/>
                  </a:cubicBezTo>
                  <a:cubicBezTo>
                    <a:pt x="876" y="525"/>
                    <a:pt x="876" y="522"/>
                    <a:pt x="874" y="519"/>
                  </a:cubicBezTo>
                  <a:cubicBezTo>
                    <a:pt x="874" y="519"/>
                    <a:pt x="870" y="509"/>
                    <a:pt x="871" y="508"/>
                  </a:cubicBezTo>
                  <a:cubicBezTo>
                    <a:pt x="873" y="507"/>
                    <a:pt x="875" y="503"/>
                    <a:pt x="875" y="502"/>
                  </a:cubicBezTo>
                  <a:cubicBezTo>
                    <a:pt x="876" y="500"/>
                    <a:pt x="874" y="498"/>
                    <a:pt x="872" y="498"/>
                  </a:cubicBezTo>
                  <a:cubicBezTo>
                    <a:pt x="871" y="498"/>
                    <a:pt x="870" y="499"/>
                    <a:pt x="869" y="499"/>
                  </a:cubicBezTo>
                  <a:cubicBezTo>
                    <a:pt x="866" y="501"/>
                    <a:pt x="865" y="499"/>
                    <a:pt x="863" y="498"/>
                  </a:cubicBezTo>
                  <a:cubicBezTo>
                    <a:pt x="862" y="497"/>
                    <a:pt x="860" y="497"/>
                    <a:pt x="859" y="497"/>
                  </a:cubicBezTo>
                  <a:cubicBezTo>
                    <a:pt x="856" y="497"/>
                    <a:pt x="853" y="497"/>
                    <a:pt x="851" y="497"/>
                  </a:cubicBezTo>
                  <a:cubicBezTo>
                    <a:pt x="854" y="497"/>
                    <a:pt x="856" y="494"/>
                    <a:pt x="861" y="495"/>
                  </a:cubicBezTo>
                  <a:cubicBezTo>
                    <a:pt x="863" y="496"/>
                    <a:pt x="866" y="497"/>
                    <a:pt x="869" y="497"/>
                  </a:cubicBezTo>
                  <a:cubicBezTo>
                    <a:pt x="873" y="497"/>
                    <a:pt x="878" y="494"/>
                    <a:pt x="881" y="491"/>
                  </a:cubicBezTo>
                  <a:cubicBezTo>
                    <a:pt x="885" y="486"/>
                    <a:pt x="877" y="479"/>
                    <a:pt x="873" y="478"/>
                  </a:cubicBezTo>
                  <a:cubicBezTo>
                    <a:pt x="866" y="478"/>
                    <a:pt x="861" y="477"/>
                    <a:pt x="855" y="479"/>
                  </a:cubicBezTo>
                  <a:cubicBezTo>
                    <a:pt x="849" y="480"/>
                    <a:pt x="843" y="480"/>
                    <a:pt x="838" y="482"/>
                  </a:cubicBezTo>
                  <a:cubicBezTo>
                    <a:pt x="833" y="485"/>
                    <a:pt x="828" y="488"/>
                    <a:pt x="823" y="492"/>
                  </a:cubicBezTo>
                  <a:cubicBezTo>
                    <a:pt x="822" y="493"/>
                    <a:pt x="820" y="495"/>
                    <a:pt x="819" y="497"/>
                  </a:cubicBezTo>
                  <a:cubicBezTo>
                    <a:pt x="818" y="499"/>
                    <a:pt x="815" y="498"/>
                    <a:pt x="814" y="500"/>
                  </a:cubicBezTo>
                  <a:cubicBezTo>
                    <a:pt x="811" y="504"/>
                    <a:pt x="810" y="505"/>
                    <a:pt x="806" y="507"/>
                  </a:cubicBezTo>
                  <a:cubicBezTo>
                    <a:pt x="805" y="507"/>
                    <a:pt x="804" y="507"/>
                    <a:pt x="803" y="508"/>
                  </a:cubicBezTo>
                  <a:cubicBezTo>
                    <a:pt x="804" y="506"/>
                    <a:pt x="806" y="505"/>
                    <a:pt x="808" y="504"/>
                  </a:cubicBezTo>
                  <a:cubicBezTo>
                    <a:pt x="812" y="501"/>
                    <a:pt x="815" y="497"/>
                    <a:pt x="818" y="493"/>
                  </a:cubicBezTo>
                  <a:cubicBezTo>
                    <a:pt x="820" y="492"/>
                    <a:pt x="822" y="491"/>
                    <a:pt x="825" y="489"/>
                  </a:cubicBezTo>
                  <a:cubicBezTo>
                    <a:pt x="825" y="489"/>
                    <a:pt x="826" y="487"/>
                    <a:pt x="826" y="486"/>
                  </a:cubicBezTo>
                  <a:cubicBezTo>
                    <a:pt x="830" y="481"/>
                    <a:pt x="834" y="478"/>
                    <a:pt x="840" y="477"/>
                  </a:cubicBezTo>
                  <a:cubicBezTo>
                    <a:pt x="844" y="475"/>
                    <a:pt x="849" y="475"/>
                    <a:pt x="853" y="473"/>
                  </a:cubicBezTo>
                  <a:cubicBezTo>
                    <a:pt x="855" y="471"/>
                    <a:pt x="855" y="466"/>
                    <a:pt x="856" y="464"/>
                  </a:cubicBezTo>
                  <a:cubicBezTo>
                    <a:pt x="858" y="461"/>
                    <a:pt x="862" y="462"/>
                    <a:pt x="863" y="459"/>
                  </a:cubicBezTo>
                  <a:cubicBezTo>
                    <a:pt x="864" y="456"/>
                    <a:pt x="875" y="460"/>
                    <a:pt x="877" y="460"/>
                  </a:cubicBezTo>
                  <a:cubicBezTo>
                    <a:pt x="879" y="460"/>
                    <a:pt x="881" y="461"/>
                    <a:pt x="882" y="462"/>
                  </a:cubicBezTo>
                  <a:cubicBezTo>
                    <a:pt x="884" y="463"/>
                    <a:pt x="887" y="462"/>
                    <a:pt x="888" y="462"/>
                  </a:cubicBezTo>
                  <a:cubicBezTo>
                    <a:pt x="897" y="462"/>
                    <a:pt x="906" y="466"/>
                    <a:pt x="914" y="466"/>
                  </a:cubicBezTo>
                  <a:cubicBezTo>
                    <a:pt x="919" y="467"/>
                    <a:pt x="923" y="464"/>
                    <a:pt x="927" y="466"/>
                  </a:cubicBezTo>
                  <a:cubicBezTo>
                    <a:pt x="930" y="467"/>
                    <a:pt x="932" y="468"/>
                    <a:pt x="934" y="467"/>
                  </a:cubicBezTo>
                  <a:cubicBezTo>
                    <a:pt x="936" y="466"/>
                    <a:pt x="937" y="464"/>
                    <a:pt x="940" y="464"/>
                  </a:cubicBezTo>
                  <a:cubicBezTo>
                    <a:pt x="941" y="463"/>
                    <a:pt x="942" y="463"/>
                    <a:pt x="943" y="462"/>
                  </a:cubicBezTo>
                  <a:cubicBezTo>
                    <a:pt x="945" y="461"/>
                    <a:pt x="945" y="458"/>
                    <a:pt x="946" y="455"/>
                  </a:cubicBezTo>
                  <a:cubicBezTo>
                    <a:pt x="947" y="455"/>
                    <a:pt x="948" y="454"/>
                    <a:pt x="949" y="454"/>
                  </a:cubicBezTo>
                  <a:cubicBezTo>
                    <a:pt x="953" y="453"/>
                    <a:pt x="957" y="453"/>
                    <a:pt x="960" y="453"/>
                  </a:cubicBezTo>
                  <a:cubicBezTo>
                    <a:pt x="965" y="453"/>
                    <a:pt x="969" y="452"/>
                    <a:pt x="974" y="448"/>
                  </a:cubicBezTo>
                  <a:cubicBezTo>
                    <a:pt x="977" y="446"/>
                    <a:pt x="981" y="445"/>
                    <a:pt x="982" y="441"/>
                  </a:cubicBezTo>
                  <a:cubicBezTo>
                    <a:pt x="983" y="438"/>
                    <a:pt x="979" y="437"/>
                    <a:pt x="980" y="434"/>
                  </a:cubicBezTo>
                  <a:cubicBezTo>
                    <a:pt x="980" y="432"/>
                    <a:pt x="980" y="430"/>
                    <a:pt x="982" y="428"/>
                  </a:cubicBezTo>
                  <a:cubicBezTo>
                    <a:pt x="982" y="428"/>
                    <a:pt x="982" y="427"/>
                    <a:pt x="982" y="427"/>
                  </a:cubicBezTo>
                  <a:cubicBezTo>
                    <a:pt x="982" y="426"/>
                    <a:pt x="980" y="424"/>
                    <a:pt x="979" y="423"/>
                  </a:cubicBezTo>
                  <a:cubicBezTo>
                    <a:pt x="978" y="422"/>
                    <a:pt x="977" y="421"/>
                    <a:pt x="975" y="419"/>
                  </a:cubicBezTo>
                  <a:cubicBezTo>
                    <a:pt x="972" y="417"/>
                    <a:pt x="973" y="416"/>
                    <a:pt x="969" y="419"/>
                  </a:cubicBezTo>
                  <a:cubicBezTo>
                    <a:pt x="968" y="420"/>
                    <a:pt x="962" y="421"/>
                    <a:pt x="966" y="418"/>
                  </a:cubicBezTo>
                  <a:cubicBezTo>
                    <a:pt x="967" y="418"/>
                    <a:pt x="968" y="417"/>
                    <a:pt x="967" y="417"/>
                  </a:cubicBezTo>
                  <a:cubicBezTo>
                    <a:pt x="967" y="414"/>
                    <a:pt x="971" y="413"/>
                    <a:pt x="968" y="410"/>
                  </a:cubicBezTo>
                  <a:cubicBezTo>
                    <a:pt x="966" y="408"/>
                    <a:pt x="963" y="408"/>
                    <a:pt x="960" y="408"/>
                  </a:cubicBezTo>
                  <a:cubicBezTo>
                    <a:pt x="956" y="408"/>
                    <a:pt x="951" y="411"/>
                    <a:pt x="948" y="413"/>
                  </a:cubicBezTo>
                  <a:cubicBezTo>
                    <a:pt x="946" y="416"/>
                    <a:pt x="944" y="418"/>
                    <a:pt x="941" y="420"/>
                  </a:cubicBezTo>
                  <a:cubicBezTo>
                    <a:pt x="942" y="419"/>
                    <a:pt x="934" y="424"/>
                    <a:pt x="935" y="421"/>
                  </a:cubicBezTo>
                  <a:cubicBezTo>
                    <a:pt x="936" y="420"/>
                    <a:pt x="937" y="419"/>
                    <a:pt x="937" y="418"/>
                  </a:cubicBezTo>
                  <a:cubicBezTo>
                    <a:pt x="939" y="415"/>
                    <a:pt x="941" y="413"/>
                    <a:pt x="944" y="413"/>
                  </a:cubicBezTo>
                  <a:cubicBezTo>
                    <a:pt x="945" y="413"/>
                    <a:pt x="946" y="413"/>
                    <a:pt x="946" y="412"/>
                  </a:cubicBezTo>
                  <a:cubicBezTo>
                    <a:pt x="947" y="411"/>
                    <a:pt x="947" y="410"/>
                    <a:pt x="946" y="410"/>
                  </a:cubicBezTo>
                  <a:cubicBezTo>
                    <a:pt x="944" y="409"/>
                    <a:pt x="945" y="409"/>
                    <a:pt x="946" y="409"/>
                  </a:cubicBezTo>
                  <a:cubicBezTo>
                    <a:pt x="948" y="409"/>
                    <a:pt x="951" y="408"/>
                    <a:pt x="953" y="407"/>
                  </a:cubicBezTo>
                  <a:cubicBezTo>
                    <a:pt x="958" y="405"/>
                    <a:pt x="964" y="407"/>
                    <a:pt x="968" y="405"/>
                  </a:cubicBezTo>
                  <a:cubicBezTo>
                    <a:pt x="968" y="405"/>
                    <a:pt x="969" y="405"/>
                    <a:pt x="968" y="404"/>
                  </a:cubicBezTo>
                  <a:cubicBezTo>
                    <a:pt x="967" y="402"/>
                    <a:pt x="965" y="401"/>
                    <a:pt x="963" y="400"/>
                  </a:cubicBezTo>
                  <a:cubicBezTo>
                    <a:pt x="961" y="398"/>
                    <a:pt x="958" y="399"/>
                    <a:pt x="955" y="398"/>
                  </a:cubicBezTo>
                  <a:cubicBezTo>
                    <a:pt x="954" y="397"/>
                    <a:pt x="952" y="395"/>
                    <a:pt x="951" y="395"/>
                  </a:cubicBezTo>
                  <a:cubicBezTo>
                    <a:pt x="949" y="395"/>
                    <a:pt x="950" y="395"/>
                    <a:pt x="950" y="394"/>
                  </a:cubicBezTo>
                  <a:cubicBezTo>
                    <a:pt x="950" y="394"/>
                    <a:pt x="950" y="393"/>
                    <a:pt x="950" y="393"/>
                  </a:cubicBezTo>
                  <a:cubicBezTo>
                    <a:pt x="948" y="392"/>
                    <a:pt x="947" y="390"/>
                    <a:pt x="945" y="388"/>
                  </a:cubicBezTo>
                  <a:cubicBezTo>
                    <a:pt x="945" y="387"/>
                    <a:pt x="944" y="386"/>
                    <a:pt x="942" y="386"/>
                  </a:cubicBezTo>
                  <a:cubicBezTo>
                    <a:pt x="939" y="386"/>
                    <a:pt x="941" y="382"/>
                    <a:pt x="940" y="380"/>
                  </a:cubicBezTo>
                  <a:cubicBezTo>
                    <a:pt x="938" y="379"/>
                    <a:pt x="936" y="379"/>
                    <a:pt x="935" y="378"/>
                  </a:cubicBezTo>
                  <a:cubicBezTo>
                    <a:pt x="932" y="378"/>
                    <a:pt x="933" y="375"/>
                    <a:pt x="931" y="374"/>
                  </a:cubicBezTo>
                  <a:cubicBezTo>
                    <a:pt x="932" y="374"/>
                    <a:pt x="930" y="373"/>
                    <a:pt x="930" y="373"/>
                  </a:cubicBezTo>
                  <a:cubicBezTo>
                    <a:pt x="929" y="373"/>
                    <a:pt x="925" y="374"/>
                    <a:pt x="926" y="372"/>
                  </a:cubicBezTo>
                  <a:cubicBezTo>
                    <a:pt x="927" y="370"/>
                    <a:pt x="926" y="368"/>
                    <a:pt x="925" y="366"/>
                  </a:cubicBezTo>
                  <a:cubicBezTo>
                    <a:pt x="926" y="366"/>
                    <a:pt x="927" y="366"/>
                    <a:pt x="928" y="365"/>
                  </a:cubicBezTo>
                  <a:cubicBezTo>
                    <a:pt x="931" y="364"/>
                    <a:pt x="933" y="361"/>
                    <a:pt x="931" y="358"/>
                  </a:cubicBezTo>
                  <a:cubicBezTo>
                    <a:pt x="930" y="355"/>
                    <a:pt x="927" y="354"/>
                    <a:pt x="929" y="350"/>
                  </a:cubicBezTo>
                  <a:cubicBezTo>
                    <a:pt x="929" y="349"/>
                    <a:pt x="929" y="348"/>
                    <a:pt x="929" y="347"/>
                  </a:cubicBezTo>
                  <a:cubicBezTo>
                    <a:pt x="928" y="345"/>
                    <a:pt x="927" y="343"/>
                    <a:pt x="926" y="341"/>
                  </a:cubicBezTo>
                  <a:cubicBezTo>
                    <a:pt x="925" y="340"/>
                    <a:pt x="922" y="335"/>
                    <a:pt x="922" y="333"/>
                  </a:cubicBezTo>
                  <a:cubicBezTo>
                    <a:pt x="922" y="332"/>
                    <a:pt x="921" y="330"/>
                    <a:pt x="921" y="328"/>
                  </a:cubicBezTo>
                  <a:cubicBezTo>
                    <a:pt x="920" y="327"/>
                    <a:pt x="919" y="323"/>
                    <a:pt x="918" y="322"/>
                  </a:cubicBezTo>
                  <a:cubicBezTo>
                    <a:pt x="915" y="318"/>
                    <a:pt x="912" y="315"/>
                    <a:pt x="913" y="309"/>
                  </a:cubicBezTo>
                  <a:cubicBezTo>
                    <a:pt x="914" y="306"/>
                    <a:pt x="914" y="303"/>
                    <a:pt x="913" y="299"/>
                  </a:cubicBezTo>
                  <a:cubicBezTo>
                    <a:pt x="913" y="298"/>
                    <a:pt x="913" y="295"/>
                    <a:pt x="911" y="296"/>
                  </a:cubicBezTo>
                  <a:cubicBezTo>
                    <a:pt x="909" y="297"/>
                    <a:pt x="908" y="299"/>
                    <a:pt x="907" y="301"/>
                  </a:cubicBezTo>
                  <a:cubicBezTo>
                    <a:pt x="905" y="304"/>
                    <a:pt x="903" y="306"/>
                    <a:pt x="901" y="309"/>
                  </a:cubicBezTo>
                  <a:cubicBezTo>
                    <a:pt x="899" y="311"/>
                    <a:pt x="899" y="313"/>
                    <a:pt x="896" y="315"/>
                  </a:cubicBezTo>
                  <a:cubicBezTo>
                    <a:pt x="895" y="317"/>
                    <a:pt x="894" y="317"/>
                    <a:pt x="894" y="319"/>
                  </a:cubicBezTo>
                  <a:cubicBezTo>
                    <a:pt x="895" y="324"/>
                    <a:pt x="890" y="324"/>
                    <a:pt x="887" y="325"/>
                  </a:cubicBezTo>
                  <a:cubicBezTo>
                    <a:pt x="885" y="326"/>
                    <a:pt x="882" y="328"/>
                    <a:pt x="880" y="329"/>
                  </a:cubicBezTo>
                  <a:cubicBezTo>
                    <a:pt x="877" y="330"/>
                    <a:pt x="875" y="332"/>
                    <a:pt x="872" y="329"/>
                  </a:cubicBezTo>
                  <a:cubicBezTo>
                    <a:pt x="871" y="328"/>
                    <a:pt x="871" y="328"/>
                    <a:pt x="870" y="328"/>
                  </a:cubicBezTo>
                  <a:cubicBezTo>
                    <a:pt x="868" y="327"/>
                    <a:pt x="868" y="325"/>
                    <a:pt x="867" y="323"/>
                  </a:cubicBezTo>
                  <a:cubicBezTo>
                    <a:pt x="867" y="322"/>
                    <a:pt x="865" y="321"/>
                    <a:pt x="864" y="320"/>
                  </a:cubicBezTo>
                  <a:cubicBezTo>
                    <a:pt x="863" y="320"/>
                    <a:pt x="861" y="320"/>
                    <a:pt x="861" y="320"/>
                  </a:cubicBezTo>
                  <a:cubicBezTo>
                    <a:pt x="859" y="320"/>
                    <a:pt x="861" y="317"/>
                    <a:pt x="861" y="316"/>
                  </a:cubicBezTo>
                  <a:cubicBezTo>
                    <a:pt x="861" y="315"/>
                    <a:pt x="861" y="314"/>
                    <a:pt x="859" y="313"/>
                  </a:cubicBezTo>
                  <a:cubicBezTo>
                    <a:pt x="858" y="311"/>
                    <a:pt x="859" y="309"/>
                    <a:pt x="859" y="307"/>
                  </a:cubicBezTo>
                  <a:cubicBezTo>
                    <a:pt x="859" y="304"/>
                    <a:pt x="857" y="301"/>
                    <a:pt x="860" y="298"/>
                  </a:cubicBezTo>
                  <a:cubicBezTo>
                    <a:pt x="862" y="295"/>
                    <a:pt x="861" y="292"/>
                    <a:pt x="864" y="289"/>
                  </a:cubicBezTo>
                  <a:cubicBezTo>
                    <a:pt x="865" y="288"/>
                    <a:pt x="865" y="284"/>
                    <a:pt x="864" y="283"/>
                  </a:cubicBezTo>
                  <a:cubicBezTo>
                    <a:pt x="863" y="283"/>
                    <a:pt x="862" y="283"/>
                    <a:pt x="861" y="284"/>
                  </a:cubicBezTo>
                  <a:cubicBezTo>
                    <a:pt x="859" y="286"/>
                    <a:pt x="860" y="284"/>
                    <a:pt x="860" y="282"/>
                  </a:cubicBezTo>
                  <a:cubicBezTo>
                    <a:pt x="859" y="282"/>
                    <a:pt x="858" y="281"/>
                    <a:pt x="858" y="281"/>
                  </a:cubicBezTo>
                  <a:cubicBezTo>
                    <a:pt x="855" y="279"/>
                    <a:pt x="853" y="279"/>
                    <a:pt x="849" y="279"/>
                  </a:cubicBezTo>
                  <a:cubicBezTo>
                    <a:pt x="847" y="278"/>
                    <a:pt x="843" y="277"/>
                    <a:pt x="847" y="274"/>
                  </a:cubicBezTo>
                  <a:cubicBezTo>
                    <a:pt x="848" y="274"/>
                    <a:pt x="848" y="273"/>
                    <a:pt x="847" y="273"/>
                  </a:cubicBezTo>
                  <a:cubicBezTo>
                    <a:pt x="847" y="271"/>
                    <a:pt x="846" y="271"/>
                    <a:pt x="845" y="270"/>
                  </a:cubicBezTo>
                  <a:cubicBezTo>
                    <a:pt x="844" y="269"/>
                    <a:pt x="842" y="269"/>
                    <a:pt x="841" y="268"/>
                  </a:cubicBezTo>
                  <a:cubicBezTo>
                    <a:pt x="838" y="267"/>
                    <a:pt x="839" y="265"/>
                    <a:pt x="838" y="263"/>
                  </a:cubicBezTo>
                  <a:cubicBezTo>
                    <a:pt x="837" y="261"/>
                    <a:pt x="834" y="258"/>
                    <a:pt x="833" y="256"/>
                  </a:cubicBezTo>
                  <a:cubicBezTo>
                    <a:pt x="831" y="255"/>
                    <a:pt x="829" y="255"/>
                    <a:pt x="827" y="255"/>
                  </a:cubicBezTo>
                  <a:cubicBezTo>
                    <a:pt x="823" y="255"/>
                    <a:pt x="820" y="256"/>
                    <a:pt x="817" y="254"/>
                  </a:cubicBezTo>
                  <a:cubicBezTo>
                    <a:pt x="814" y="252"/>
                    <a:pt x="811" y="252"/>
                    <a:pt x="808" y="251"/>
                  </a:cubicBezTo>
                  <a:cubicBezTo>
                    <a:pt x="802" y="248"/>
                    <a:pt x="796" y="247"/>
                    <a:pt x="790" y="249"/>
                  </a:cubicBezTo>
                  <a:cubicBezTo>
                    <a:pt x="786" y="250"/>
                    <a:pt x="783" y="253"/>
                    <a:pt x="783" y="257"/>
                  </a:cubicBezTo>
                  <a:cubicBezTo>
                    <a:pt x="783" y="259"/>
                    <a:pt x="784" y="261"/>
                    <a:pt x="785" y="262"/>
                  </a:cubicBezTo>
                  <a:cubicBezTo>
                    <a:pt x="785" y="262"/>
                    <a:pt x="785" y="262"/>
                    <a:pt x="785" y="262"/>
                  </a:cubicBezTo>
                  <a:cubicBezTo>
                    <a:pt x="785" y="262"/>
                    <a:pt x="785" y="262"/>
                    <a:pt x="785" y="262"/>
                  </a:cubicBezTo>
                  <a:cubicBezTo>
                    <a:pt x="786" y="263"/>
                    <a:pt x="787" y="264"/>
                    <a:pt x="788" y="264"/>
                  </a:cubicBezTo>
                  <a:cubicBezTo>
                    <a:pt x="785" y="267"/>
                    <a:pt x="784" y="269"/>
                    <a:pt x="780" y="270"/>
                  </a:cubicBezTo>
                  <a:cubicBezTo>
                    <a:pt x="779" y="271"/>
                    <a:pt x="777" y="273"/>
                    <a:pt x="779" y="274"/>
                  </a:cubicBezTo>
                  <a:cubicBezTo>
                    <a:pt x="781" y="276"/>
                    <a:pt x="782" y="277"/>
                    <a:pt x="782" y="280"/>
                  </a:cubicBezTo>
                  <a:cubicBezTo>
                    <a:pt x="781" y="284"/>
                    <a:pt x="782" y="289"/>
                    <a:pt x="779" y="293"/>
                  </a:cubicBezTo>
                  <a:cubicBezTo>
                    <a:pt x="779" y="293"/>
                    <a:pt x="774" y="295"/>
                    <a:pt x="774" y="296"/>
                  </a:cubicBezTo>
                  <a:cubicBezTo>
                    <a:pt x="774" y="296"/>
                    <a:pt x="773" y="297"/>
                    <a:pt x="773" y="297"/>
                  </a:cubicBezTo>
                  <a:cubicBezTo>
                    <a:pt x="773" y="301"/>
                    <a:pt x="770" y="302"/>
                    <a:pt x="767" y="304"/>
                  </a:cubicBezTo>
                  <a:cubicBezTo>
                    <a:pt x="766" y="305"/>
                    <a:pt x="761" y="308"/>
                    <a:pt x="762" y="310"/>
                  </a:cubicBezTo>
                  <a:cubicBezTo>
                    <a:pt x="766" y="316"/>
                    <a:pt x="771" y="321"/>
                    <a:pt x="772" y="328"/>
                  </a:cubicBezTo>
                  <a:cubicBezTo>
                    <a:pt x="772" y="331"/>
                    <a:pt x="773" y="335"/>
                    <a:pt x="773" y="338"/>
                  </a:cubicBezTo>
                  <a:cubicBezTo>
                    <a:pt x="773" y="341"/>
                    <a:pt x="774" y="344"/>
                    <a:pt x="772" y="348"/>
                  </a:cubicBezTo>
                  <a:cubicBezTo>
                    <a:pt x="772" y="348"/>
                    <a:pt x="772" y="350"/>
                    <a:pt x="771" y="350"/>
                  </a:cubicBezTo>
                  <a:cubicBezTo>
                    <a:pt x="771" y="353"/>
                    <a:pt x="769" y="355"/>
                    <a:pt x="767" y="357"/>
                  </a:cubicBezTo>
                  <a:cubicBezTo>
                    <a:pt x="764" y="360"/>
                    <a:pt x="759" y="364"/>
                    <a:pt x="754" y="366"/>
                  </a:cubicBezTo>
                  <a:cubicBezTo>
                    <a:pt x="747" y="368"/>
                    <a:pt x="740" y="369"/>
                    <a:pt x="733" y="371"/>
                  </a:cubicBezTo>
                  <a:cubicBezTo>
                    <a:pt x="729" y="372"/>
                    <a:pt x="730" y="378"/>
                    <a:pt x="732" y="381"/>
                  </a:cubicBezTo>
                  <a:cubicBezTo>
                    <a:pt x="733" y="385"/>
                    <a:pt x="733" y="388"/>
                    <a:pt x="732" y="392"/>
                  </a:cubicBezTo>
                  <a:cubicBezTo>
                    <a:pt x="731" y="395"/>
                    <a:pt x="731" y="397"/>
                    <a:pt x="731" y="400"/>
                  </a:cubicBezTo>
                  <a:cubicBezTo>
                    <a:pt x="731" y="401"/>
                    <a:pt x="731" y="403"/>
                    <a:pt x="731" y="404"/>
                  </a:cubicBezTo>
                  <a:cubicBezTo>
                    <a:pt x="732" y="408"/>
                    <a:pt x="730" y="407"/>
                    <a:pt x="730" y="409"/>
                  </a:cubicBezTo>
                  <a:cubicBezTo>
                    <a:pt x="729" y="411"/>
                    <a:pt x="730" y="412"/>
                    <a:pt x="731" y="414"/>
                  </a:cubicBezTo>
                  <a:cubicBezTo>
                    <a:pt x="734" y="420"/>
                    <a:pt x="728" y="419"/>
                    <a:pt x="727" y="423"/>
                  </a:cubicBezTo>
                  <a:cubicBezTo>
                    <a:pt x="727" y="425"/>
                    <a:pt x="727" y="426"/>
                    <a:pt x="725" y="426"/>
                  </a:cubicBezTo>
                  <a:cubicBezTo>
                    <a:pt x="720" y="424"/>
                    <a:pt x="722" y="433"/>
                    <a:pt x="716" y="430"/>
                  </a:cubicBezTo>
                  <a:cubicBezTo>
                    <a:pt x="715" y="430"/>
                    <a:pt x="711" y="428"/>
                    <a:pt x="711" y="427"/>
                  </a:cubicBezTo>
                  <a:cubicBezTo>
                    <a:pt x="710" y="425"/>
                    <a:pt x="711" y="423"/>
                    <a:pt x="711" y="421"/>
                  </a:cubicBezTo>
                  <a:cubicBezTo>
                    <a:pt x="710" y="419"/>
                    <a:pt x="710" y="419"/>
                    <a:pt x="708" y="418"/>
                  </a:cubicBezTo>
                  <a:cubicBezTo>
                    <a:pt x="707" y="418"/>
                    <a:pt x="707" y="418"/>
                    <a:pt x="706" y="417"/>
                  </a:cubicBezTo>
                  <a:cubicBezTo>
                    <a:pt x="702" y="417"/>
                    <a:pt x="702" y="413"/>
                    <a:pt x="701" y="410"/>
                  </a:cubicBezTo>
                  <a:cubicBezTo>
                    <a:pt x="701" y="408"/>
                    <a:pt x="698" y="405"/>
                    <a:pt x="697" y="404"/>
                  </a:cubicBezTo>
                  <a:cubicBezTo>
                    <a:pt x="696" y="403"/>
                    <a:pt x="695" y="402"/>
                    <a:pt x="695" y="402"/>
                  </a:cubicBezTo>
                  <a:cubicBezTo>
                    <a:pt x="696" y="398"/>
                    <a:pt x="699" y="395"/>
                    <a:pt x="701" y="392"/>
                  </a:cubicBezTo>
                  <a:cubicBezTo>
                    <a:pt x="702" y="390"/>
                    <a:pt x="702" y="388"/>
                    <a:pt x="702" y="386"/>
                  </a:cubicBezTo>
                  <a:cubicBezTo>
                    <a:pt x="701" y="382"/>
                    <a:pt x="701" y="380"/>
                    <a:pt x="702" y="377"/>
                  </a:cubicBezTo>
                  <a:cubicBezTo>
                    <a:pt x="702" y="374"/>
                    <a:pt x="704" y="373"/>
                    <a:pt x="706" y="371"/>
                  </a:cubicBezTo>
                  <a:cubicBezTo>
                    <a:pt x="708" y="367"/>
                    <a:pt x="709" y="364"/>
                    <a:pt x="703" y="363"/>
                  </a:cubicBezTo>
                  <a:cubicBezTo>
                    <a:pt x="699" y="362"/>
                    <a:pt x="695" y="362"/>
                    <a:pt x="690" y="361"/>
                  </a:cubicBezTo>
                  <a:cubicBezTo>
                    <a:pt x="686" y="359"/>
                    <a:pt x="679" y="362"/>
                    <a:pt x="676" y="358"/>
                  </a:cubicBezTo>
                  <a:cubicBezTo>
                    <a:pt x="673" y="352"/>
                    <a:pt x="666" y="348"/>
                    <a:pt x="660" y="346"/>
                  </a:cubicBezTo>
                  <a:cubicBezTo>
                    <a:pt x="655" y="345"/>
                    <a:pt x="654" y="341"/>
                    <a:pt x="652" y="337"/>
                  </a:cubicBezTo>
                  <a:cubicBezTo>
                    <a:pt x="651" y="334"/>
                    <a:pt x="647" y="331"/>
                    <a:pt x="645" y="330"/>
                  </a:cubicBezTo>
                  <a:cubicBezTo>
                    <a:pt x="642" y="328"/>
                    <a:pt x="639" y="327"/>
                    <a:pt x="637" y="327"/>
                  </a:cubicBezTo>
                  <a:cubicBezTo>
                    <a:pt x="632" y="325"/>
                    <a:pt x="628" y="322"/>
                    <a:pt x="624" y="321"/>
                  </a:cubicBezTo>
                  <a:cubicBezTo>
                    <a:pt x="620" y="321"/>
                    <a:pt x="616" y="322"/>
                    <a:pt x="613" y="323"/>
                  </a:cubicBezTo>
                  <a:cubicBezTo>
                    <a:pt x="611" y="323"/>
                    <a:pt x="609" y="323"/>
                    <a:pt x="606" y="324"/>
                  </a:cubicBezTo>
                  <a:cubicBezTo>
                    <a:pt x="607" y="323"/>
                    <a:pt x="607" y="323"/>
                    <a:pt x="608" y="322"/>
                  </a:cubicBezTo>
                  <a:cubicBezTo>
                    <a:pt x="610" y="320"/>
                    <a:pt x="612" y="318"/>
                    <a:pt x="612" y="316"/>
                  </a:cubicBezTo>
                  <a:cubicBezTo>
                    <a:pt x="611" y="310"/>
                    <a:pt x="611" y="305"/>
                    <a:pt x="611" y="300"/>
                  </a:cubicBezTo>
                  <a:cubicBezTo>
                    <a:pt x="612" y="298"/>
                    <a:pt x="611" y="295"/>
                    <a:pt x="609" y="294"/>
                  </a:cubicBezTo>
                  <a:cubicBezTo>
                    <a:pt x="603" y="290"/>
                    <a:pt x="601" y="292"/>
                    <a:pt x="599" y="299"/>
                  </a:cubicBezTo>
                  <a:cubicBezTo>
                    <a:pt x="596" y="306"/>
                    <a:pt x="598" y="296"/>
                    <a:pt x="598" y="294"/>
                  </a:cubicBezTo>
                  <a:cubicBezTo>
                    <a:pt x="599" y="292"/>
                    <a:pt x="598" y="290"/>
                    <a:pt x="598" y="288"/>
                  </a:cubicBezTo>
                  <a:cubicBezTo>
                    <a:pt x="601" y="283"/>
                    <a:pt x="600" y="276"/>
                    <a:pt x="604" y="271"/>
                  </a:cubicBezTo>
                  <a:cubicBezTo>
                    <a:pt x="605" y="270"/>
                    <a:pt x="607" y="268"/>
                    <a:pt x="607" y="266"/>
                  </a:cubicBezTo>
                  <a:cubicBezTo>
                    <a:pt x="609" y="263"/>
                    <a:pt x="612" y="261"/>
                    <a:pt x="614" y="259"/>
                  </a:cubicBezTo>
                  <a:cubicBezTo>
                    <a:pt x="617" y="255"/>
                    <a:pt x="622" y="253"/>
                    <a:pt x="626" y="249"/>
                  </a:cubicBezTo>
                  <a:cubicBezTo>
                    <a:pt x="627" y="247"/>
                    <a:pt x="628" y="245"/>
                    <a:pt x="630" y="243"/>
                  </a:cubicBezTo>
                  <a:cubicBezTo>
                    <a:pt x="632" y="241"/>
                    <a:pt x="634" y="241"/>
                    <a:pt x="637" y="239"/>
                  </a:cubicBezTo>
                  <a:cubicBezTo>
                    <a:pt x="639" y="237"/>
                    <a:pt x="640" y="235"/>
                    <a:pt x="643" y="234"/>
                  </a:cubicBezTo>
                  <a:cubicBezTo>
                    <a:pt x="645" y="234"/>
                    <a:pt x="647" y="233"/>
                    <a:pt x="649" y="232"/>
                  </a:cubicBezTo>
                  <a:cubicBezTo>
                    <a:pt x="653" y="230"/>
                    <a:pt x="647" y="223"/>
                    <a:pt x="656" y="227"/>
                  </a:cubicBezTo>
                  <a:cubicBezTo>
                    <a:pt x="659" y="228"/>
                    <a:pt x="663" y="227"/>
                    <a:pt x="666" y="226"/>
                  </a:cubicBezTo>
                  <a:cubicBezTo>
                    <a:pt x="669" y="226"/>
                    <a:pt x="671" y="218"/>
                    <a:pt x="668" y="217"/>
                  </a:cubicBezTo>
                  <a:cubicBezTo>
                    <a:pt x="666" y="216"/>
                    <a:pt x="665" y="214"/>
                    <a:pt x="663" y="213"/>
                  </a:cubicBezTo>
                  <a:cubicBezTo>
                    <a:pt x="662" y="213"/>
                    <a:pt x="660" y="213"/>
                    <a:pt x="659" y="213"/>
                  </a:cubicBezTo>
                  <a:cubicBezTo>
                    <a:pt x="661" y="213"/>
                    <a:pt x="664" y="211"/>
                    <a:pt x="667" y="213"/>
                  </a:cubicBezTo>
                  <a:cubicBezTo>
                    <a:pt x="668" y="214"/>
                    <a:pt x="669" y="217"/>
                    <a:pt x="670" y="217"/>
                  </a:cubicBezTo>
                  <a:cubicBezTo>
                    <a:pt x="672" y="217"/>
                    <a:pt x="673" y="217"/>
                    <a:pt x="674" y="215"/>
                  </a:cubicBezTo>
                  <a:cubicBezTo>
                    <a:pt x="674" y="216"/>
                    <a:pt x="676" y="217"/>
                    <a:pt x="677" y="217"/>
                  </a:cubicBezTo>
                  <a:cubicBezTo>
                    <a:pt x="678" y="216"/>
                    <a:pt x="682" y="214"/>
                    <a:pt x="681" y="212"/>
                  </a:cubicBezTo>
                  <a:cubicBezTo>
                    <a:pt x="681" y="211"/>
                    <a:pt x="683" y="209"/>
                    <a:pt x="685" y="207"/>
                  </a:cubicBezTo>
                  <a:cubicBezTo>
                    <a:pt x="685" y="207"/>
                    <a:pt x="685" y="208"/>
                    <a:pt x="685" y="208"/>
                  </a:cubicBezTo>
                  <a:cubicBezTo>
                    <a:pt x="686" y="209"/>
                    <a:pt x="688" y="210"/>
                    <a:pt x="689" y="210"/>
                  </a:cubicBezTo>
                  <a:cubicBezTo>
                    <a:pt x="695" y="212"/>
                    <a:pt x="698" y="210"/>
                    <a:pt x="703" y="207"/>
                  </a:cubicBezTo>
                  <a:cubicBezTo>
                    <a:pt x="706" y="205"/>
                    <a:pt x="707" y="204"/>
                    <a:pt x="709" y="202"/>
                  </a:cubicBezTo>
                  <a:cubicBezTo>
                    <a:pt x="712" y="199"/>
                    <a:pt x="715" y="198"/>
                    <a:pt x="719" y="196"/>
                  </a:cubicBezTo>
                  <a:cubicBezTo>
                    <a:pt x="721" y="195"/>
                    <a:pt x="721" y="193"/>
                    <a:pt x="719" y="192"/>
                  </a:cubicBezTo>
                  <a:cubicBezTo>
                    <a:pt x="717" y="191"/>
                    <a:pt x="715" y="193"/>
                    <a:pt x="712" y="191"/>
                  </a:cubicBezTo>
                  <a:cubicBezTo>
                    <a:pt x="711" y="190"/>
                    <a:pt x="709" y="190"/>
                    <a:pt x="707" y="190"/>
                  </a:cubicBezTo>
                  <a:cubicBezTo>
                    <a:pt x="704" y="190"/>
                    <a:pt x="702" y="189"/>
                    <a:pt x="700" y="187"/>
                  </a:cubicBezTo>
                  <a:cubicBezTo>
                    <a:pt x="700" y="186"/>
                    <a:pt x="700" y="185"/>
                    <a:pt x="699" y="185"/>
                  </a:cubicBezTo>
                  <a:cubicBezTo>
                    <a:pt x="698" y="184"/>
                    <a:pt x="698" y="182"/>
                    <a:pt x="697" y="181"/>
                  </a:cubicBezTo>
                  <a:cubicBezTo>
                    <a:pt x="696" y="180"/>
                    <a:pt x="693" y="178"/>
                    <a:pt x="690" y="178"/>
                  </a:cubicBezTo>
                  <a:cubicBezTo>
                    <a:pt x="690" y="178"/>
                    <a:pt x="690" y="178"/>
                    <a:pt x="690" y="178"/>
                  </a:cubicBezTo>
                  <a:cubicBezTo>
                    <a:pt x="693" y="178"/>
                    <a:pt x="695" y="177"/>
                    <a:pt x="698" y="179"/>
                  </a:cubicBezTo>
                  <a:cubicBezTo>
                    <a:pt x="700" y="180"/>
                    <a:pt x="702" y="182"/>
                    <a:pt x="703" y="183"/>
                  </a:cubicBezTo>
                  <a:cubicBezTo>
                    <a:pt x="705" y="185"/>
                    <a:pt x="708" y="185"/>
                    <a:pt x="709" y="188"/>
                  </a:cubicBezTo>
                  <a:cubicBezTo>
                    <a:pt x="709" y="189"/>
                    <a:pt x="710" y="190"/>
                    <a:pt x="712" y="190"/>
                  </a:cubicBezTo>
                  <a:cubicBezTo>
                    <a:pt x="714" y="191"/>
                    <a:pt x="716" y="191"/>
                    <a:pt x="718" y="191"/>
                  </a:cubicBezTo>
                  <a:cubicBezTo>
                    <a:pt x="720" y="192"/>
                    <a:pt x="722" y="190"/>
                    <a:pt x="724" y="189"/>
                  </a:cubicBezTo>
                  <a:cubicBezTo>
                    <a:pt x="725" y="189"/>
                    <a:pt x="728" y="187"/>
                    <a:pt x="729" y="186"/>
                  </a:cubicBezTo>
                  <a:cubicBezTo>
                    <a:pt x="731" y="184"/>
                    <a:pt x="733" y="183"/>
                    <a:pt x="736" y="182"/>
                  </a:cubicBezTo>
                  <a:cubicBezTo>
                    <a:pt x="736" y="182"/>
                    <a:pt x="737" y="182"/>
                    <a:pt x="737" y="182"/>
                  </a:cubicBezTo>
                  <a:cubicBezTo>
                    <a:pt x="739" y="180"/>
                    <a:pt x="737" y="178"/>
                    <a:pt x="735" y="178"/>
                  </a:cubicBezTo>
                  <a:cubicBezTo>
                    <a:pt x="735" y="177"/>
                    <a:pt x="735" y="176"/>
                    <a:pt x="735" y="175"/>
                  </a:cubicBezTo>
                  <a:cubicBezTo>
                    <a:pt x="736" y="175"/>
                    <a:pt x="736" y="175"/>
                    <a:pt x="737" y="175"/>
                  </a:cubicBezTo>
                  <a:cubicBezTo>
                    <a:pt x="738" y="175"/>
                    <a:pt x="739" y="175"/>
                    <a:pt x="741" y="175"/>
                  </a:cubicBezTo>
                  <a:cubicBezTo>
                    <a:pt x="744" y="174"/>
                    <a:pt x="743" y="177"/>
                    <a:pt x="745" y="179"/>
                  </a:cubicBezTo>
                  <a:cubicBezTo>
                    <a:pt x="747" y="179"/>
                    <a:pt x="749" y="179"/>
                    <a:pt x="750" y="179"/>
                  </a:cubicBezTo>
                  <a:cubicBezTo>
                    <a:pt x="753" y="179"/>
                    <a:pt x="753" y="182"/>
                    <a:pt x="756" y="182"/>
                  </a:cubicBezTo>
                  <a:cubicBezTo>
                    <a:pt x="758" y="182"/>
                    <a:pt x="757" y="178"/>
                    <a:pt x="757" y="177"/>
                  </a:cubicBezTo>
                  <a:cubicBezTo>
                    <a:pt x="756" y="176"/>
                    <a:pt x="755" y="173"/>
                    <a:pt x="754" y="172"/>
                  </a:cubicBezTo>
                  <a:cubicBezTo>
                    <a:pt x="753" y="172"/>
                    <a:pt x="753" y="171"/>
                    <a:pt x="752" y="171"/>
                  </a:cubicBezTo>
                  <a:cubicBezTo>
                    <a:pt x="752" y="169"/>
                    <a:pt x="753" y="168"/>
                    <a:pt x="755" y="170"/>
                  </a:cubicBezTo>
                  <a:cubicBezTo>
                    <a:pt x="757" y="171"/>
                    <a:pt x="758" y="172"/>
                    <a:pt x="758" y="174"/>
                  </a:cubicBezTo>
                  <a:cubicBezTo>
                    <a:pt x="758" y="176"/>
                    <a:pt x="759" y="180"/>
                    <a:pt x="761" y="181"/>
                  </a:cubicBezTo>
                  <a:cubicBezTo>
                    <a:pt x="762" y="182"/>
                    <a:pt x="764" y="181"/>
                    <a:pt x="765" y="181"/>
                  </a:cubicBezTo>
                  <a:cubicBezTo>
                    <a:pt x="768" y="179"/>
                    <a:pt x="771" y="178"/>
                    <a:pt x="774" y="177"/>
                  </a:cubicBezTo>
                  <a:cubicBezTo>
                    <a:pt x="775" y="177"/>
                    <a:pt x="777" y="176"/>
                    <a:pt x="777" y="175"/>
                  </a:cubicBezTo>
                  <a:cubicBezTo>
                    <a:pt x="778" y="173"/>
                    <a:pt x="782" y="174"/>
                    <a:pt x="784" y="174"/>
                  </a:cubicBezTo>
                  <a:cubicBezTo>
                    <a:pt x="786" y="173"/>
                    <a:pt x="787" y="170"/>
                    <a:pt x="788" y="169"/>
                  </a:cubicBezTo>
                  <a:cubicBezTo>
                    <a:pt x="789" y="169"/>
                    <a:pt x="790" y="168"/>
                    <a:pt x="789" y="167"/>
                  </a:cubicBezTo>
                  <a:cubicBezTo>
                    <a:pt x="789" y="166"/>
                    <a:pt x="789" y="162"/>
                    <a:pt x="788" y="162"/>
                  </a:cubicBezTo>
                  <a:cubicBezTo>
                    <a:pt x="788" y="161"/>
                    <a:pt x="784" y="157"/>
                    <a:pt x="786" y="157"/>
                  </a:cubicBezTo>
                  <a:cubicBezTo>
                    <a:pt x="789" y="156"/>
                    <a:pt x="787" y="153"/>
                    <a:pt x="785" y="152"/>
                  </a:cubicBezTo>
                  <a:cubicBezTo>
                    <a:pt x="785" y="152"/>
                    <a:pt x="782" y="150"/>
                    <a:pt x="784" y="150"/>
                  </a:cubicBezTo>
                  <a:cubicBezTo>
                    <a:pt x="786" y="151"/>
                    <a:pt x="787" y="152"/>
                    <a:pt x="788" y="152"/>
                  </a:cubicBezTo>
                  <a:cubicBezTo>
                    <a:pt x="790" y="152"/>
                    <a:pt x="792" y="152"/>
                    <a:pt x="794" y="152"/>
                  </a:cubicBezTo>
                  <a:cubicBezTo>
                    <a:pt x="798" y="152"/>
                    <a:pt x="797" y="149"/>
                    <a:pt x="796" y="147"/>
                  </a:cubicBezTo>
                  <a:cubicBezTo>
                    <a:pt x="796" y="146"/>
                    <a:pt x="794" y="145"/>
                    <a:pt x="795" y="145"/>
                  </a:cubicBezTo>
                  <a:cubicBezTo>
                    <a:pt x="797" y="145"/>
                    <a:pt x="798" y="145"/>
                    <a:pt x="800" y="144"/>
                  </a:cubicBezTo>
                  <a:cubicBezTo>
                    <a:pt x="802" y="143"/>
                    <a:pt x="801" y="139"/>
                    <a:pt x="799" y="139"/>
                  </a:cubicBezTo>
                  <a:cubicBezTo>
                    <a:pt x="797" y="139"/>
                    <a:pt x="791" y="139"/>
                    <a:pt x="792" y="136"/>
                  </a:cubicBezTo>
                  <a:cubicBezTo>
                    <a:pt x="793" y="134"/>
                    <a:pt x="793" y="133"/>
                    <a:pt x="792" y="131"/>
                  </a:cubicBezTo>
                  <a:cubicBezTo>
                    <a:pt x="791" y="130"/>
                    <a:pt x="790" y="130"/>
                    <a:pt x="789" y="130"/>
                  </a:cubicBezTo>
                  <a:cubicBezTo>
                    <a:pt x="786" y="130"/>
                    <a:pt x="782" y="128"/>
                    <a:pt x="778" y="128"/>
                  </a:cubicBezTo>
                  <a:cubicBezTo>
                    <a:pt x="777" y="128"/>
                    <a:pt x="770" y="123"/>
                    <a:pt x="768" y="126"/>
                  </a:cubicBezTo>
                  <a:cubicBezTo>
                    <a:pt x="767" y="128"/>
                    <a:pt x="766" y="129"/>
                    <a:pt x="765" y="131"/>
                  </a:cubicBezTo>
                  <a:cubicBezTo>
                    <a:pt x="764" y="132"/>
                    <a:pt x="764" y="133"/>
                    <a:pt x="764" y="134"/>
                  </a:cubicBezTo>
                  <a:cubicBezTo>
                    <a:pt x="766" y="136"/>
                    <a:pt x="767" y="138"/>
                    <a:pt x="765" y="139"/>
                  </a:cubicBezTo>
                  <a:cubicBezTo>
                    <a:pt x="763" y="140"/>
                    <a:pt x="765" y="142"/>
                    <a:pt x="762" y="142"/>
                  </a:cubicBezTo>
                  <a:cubicBezTo>
                    <a:pt x="757" y="142"/>
                    <a:pt x="756" y="141"/>
                    <a:pt x="755" y="146"/>
                  </a:cubicBezTo>
                  <a:cubicBezTo>
                    <a:pt x="753" y="150"/>
                    <a:pt x="746" y="152"/>
                    <a:pt x="743" y="156"/>
                  </a:cubicBezTo>
                  <a:cubicBezTo>
                    <a:pt x="741" y="159"/>
                    <a:pt x="741" y="158"/>
                    <a:pt x="738" y="158"/>
                  </a:cubicBezTo>
                  <a:cubicBezTo>
                    <a:pt x="738" y="158"/>
                    <a:pt x="737" y="158"/>
                    <a:pt x="736" y="159"/>
                  </a:cubicBezTo>
                  <a:cubicBezTo>
                    <a:pt x="735" y="159"/>
                    <a:pt x="735" y="159"/>
                    <a:pt x="735" y="160"/>
                  </a:cubicBezTo>
                  <a:cubicBezTo>
                    <a:pt x="733" y="164"/>
                    <a:pt x="732" y="162"/>
                    <a:pt x="731" y="159"/>
                  </a:cubicBezTo>
                  <a:cubicBezTo>
                    <a:pt x="729" y="155"/>
                    <a:pt x="732" y="151"/>
                    <a:pt x="732" y="147"/>
                  </a:cubicBezTo>
                  <a:cubicBezTo>
                    <a:pt x="732" y="143"/>
                    <a:pt x="737" y="142"/>
                    <a:pt x="736" y="138"/>
                  </a:cubicBezTo>
                  <a:cubicBezTo>
                    <a:pt x="736" y="135"/>
                    <a:pt x="734" y="133"/>
                    <a:pt x="733" y="130"/>
                  </a:cubicBezTo>
                  <a:cubicBezTo>
                    <a:pt x="731" y="126"/>
                    <a:pt x="726" y="130"/>
                    <a:pt x="725" y="133"/>
                  </a:cubicBezTo>
                  <a:cubicBezTo>
                    <a:pt x="723" y="137"/>
                    <a:pt x="720" y="139"/>
                    <a:pt x="715" y="141"/>
                  </a:cubicBezTo>
                  <a:cubicBezTo>
                    <a:pt x="709" y="144"/>
                    <a:pt x="717" y="134"/>
                    <a:pt x="717" y="134"/>
                  </a:cubicBezTo>
                  <a:cubicBezTo>
                    <a:pt x="718" y="133"/>
                    <a:pt x="719" y="132"/>
                    <a:pt x="719" y="131"/>
                  </a:cubicBezTo>
                  <a:cubicBezTo>
                    <a:pt x="719" y="131"/>
                    <a:pt x="719" y="130"/>
                    <a:pt x="718" y="129"/>
                  </a:cubicBezTo>
                  <a:cubicBezTo>
                    <a:pt x="716" y="127"/>
                    <a:pt x="717" y="127"/>
                    <a:pt x="719" y="127"/>
                  </a:cubicBezTo>
                  <a:cubicBezTo>
                    <a:pt x="721" y="127"/>
                    <a:pt x="723" y="126"/>
                    <a:pt x="724" y="125"/>
                  </a:cubicBezTo>
                  <a:cubicBezTo>
                    <a:pt x="724" y="125"/>
                    <a:pt x="725" y="123"/>
                    <a:pt x="724" y="123"/>
                  </a:cubicBezTo>
                  <a:cubicBezTo>
                    <a:pt x="722" y="122"/>
                    <a:pt x="719" y="123"/>
                    <a:pt x="717" y="121"/>
                  </a:cubicBezTo>
                  <a:cubicBezTo>
                    <a:pt x="716" y="119"/>
                    <a:pt x="713" y="124"/>
                    <a:pt x="710" y="121"/>
                  </a:cubicBezTo>
                  <a:cubicBezTo>
                    <a:pt x="710" y="120"/>
                    <a:pt x="709" y="119"/>
                    <a:pt x="708" y="118"/>
                  </a:cubicBezTo>
                  <a:cubicBezTo>
                    <a:pt x="709" y="117"/>
                    <a:pt x="713" y="118"/>
                    <a:pt x="713" y="115"/>
                  </a:cubicBezTo>
                  <a:cubicBezTo>
                    <a:pt x="713" y="114"/>
                    <a:pt x="713" y="111"/>
                    <a:pt x="715" y="114"/>
                  </a:cubicBezTo>
                  <a:cubicBezTo>
                    <a:pt x="716" y="114"/>
                    <a:pt x="718" y="114"/>
                    <a:pt x="718" y="114"/>
                  </a:cubicBezTo>
                  <a:cubicBezTo>
                    <a:pt x="719" y="114"/>
                    <a:pt x="722" y="113"/>
                    <a:pt x="722" y="112"/>
                  </a:cubicBezTo>
                  <a:cubicBezTo>
                    <a:pt x="722" y="111"/>
                    <a:pt x="721" y="111"/>
                    <a:pt x="721" y="110"/>
                  </a:cubicBezTo>
                  <a:cubicBezTo>
                    <a:pt x="720" y="110"/>
                    <a:pt x="719" y="107"/>
                    <a:pt x="719" y="105"/>
                  </a:cubicBezTo>
                  <a:cubicBezTo>
                    <a:pt x="717" y="101"/>
                    <a:pt x="719" y="100"/>
                    <a:pt x="720" y="96"/>
                  </a:cubicBezTo>
                  <a:cubicBezTo>
                    <a:pt x="720" y="96"/>
                    <a:pt x="721" y="94"/>
                    <a:pt x="720" y="93"/>
                  </a:cubicBezTo>
                  <a:cubicBezTo>
                    <a:pt x="719" y="91"/>
                    <a:pt x="718" y="89"/>
                    <a:pt x="718" y="87"/>
                  </a:cubicBezTo>
                  <a:cubicBezTo>
                    <a:pt x="718" y="86"/>
                    <a:pt x="717" y="86"/>
                    <a:pt x="717" y="85"/>
                  </a:cubicBezTo>
                  <a:cubicBezTo>
                    <a:pt x="715" y="85"/>
                    <a:pt x="714" y="86"/>
                    <a:pt x="713" y="84"/>
                  </a:cubicBezTo>
                  <a:cubicBezTo>
                    <a:pt x="712" y="82"/>
                    <a:pt x="713" y="83"/>
                    <a:pt x="711" y="82"/>
                  </a:cubicBezTo>
                  <a:cubicBezTo>
                    <a:pt x="708" y="82"/>
                    <a:pt x="703" y="84"/>
                    <a:pt x="701" y="86"/>
                  </a:cubicBezTo>
                  <a:cubicBezTo>
                    <a:pt x="700" y="86"/>
                    <a:pt x="700" y="86"/>
                    <a:pt x="701" y="87"/>
                  </a:cubicBezTo>
                  <a:cubicBezTo>
                    <a:pt x="702" y="89"/>
                    <a:pt x="701" y="90"/>
                    <a:pt x="698" y="88"/>
                  </a:cubicBezTo>
                  <a:cubicBezTo>
                    <a:pt x="696" y="87"/>
                    <a:pt x="693" y="89"/>
                    <a:pt x="690" y="90"/>
                  </a:cubicBezTo>
                  <a:cubicBezTo>
                    <a:pt x="687" y="92"/>
                    <a:pt x="685" y="94"/>
                    <a:pt x="684" y="98"/>
                  </a:cubicBezTo>
                  <a:cubicBezTo>
                    <a:pt x="684" y="99"/>
                    <a:pt x="686" y="100"/>
                    <a:pt x="684" y="100"/>
                  </a:cubicBezTo>
                  <a:cubicBezTo>
                    <a:pt x="682" y="101"/>
                    <a:pt x="681" y="103"/>
                    <a:pt x="680" y="104"/>
                  </a:cubicBezTo>
                  <a:cubicBezTo>
                    <a:pt x="678" y="105"/>
                    <a:pt x="677" y="110"/>
                    <a:pt x="678" y="112"/>
                  </a:cubicBezTo>
                  <a:cubicBezTo>
                    <a:pt x="679" y="113"/>
                    <a:pt x="679" y="113"/>
                    <a:pt x="680" y="114"/>
                  </a:cubicBezTo>
                  <a:cubicBezTo>
                    <a:pt x="681" y="114"/>
                    <a:pt x="684" y="116"/>
                    <a:pt x="685" y="116"/>
                  </a:cubicBezTo>
                  <a:cubicBezTo>
                    <a:pt x="687" y="116"/>
                    <a:pt x="687" y="116"/>
                    <a:pt x="689" y="118"/>
                  </a:cubicBezTo>
                  <a:cubicBezTo>
                    <a:pt x="689" y="118"/>
                    <a:pt x="690" y="118"/>
                    <a:pt x="690" y="118"/>
                  </a:cubicBezTo>
                  <a:cubicBezTo>
                    <a:pt x="691" y="118"/>
                    <a:pt x="691" y="119"/>
                    <a:pt x="691" y="119"/>
                  </a:cubicBezTo>
                  <a:cubicBezTo>
                    <a:pt x="691" y="119"/>
                    <a:pt x="692" y="119"/>
                    <a:pt x="694" y="121"/>
                  </a:cubicBezTo>
                  <a:cubicBezTo>
                    <a:pt x="692" y="120"/>
                    <a:pt x="688" y="121"/>
                    <a:pt x="686" y="122"/>
                  </a:cubicBezTo>
                  <a:cubicBezTo>
                    <a:pt x="686" y="123"/>
                    <a:pt x="686" y="123"/>
                    <a:pt x="686" y="123"/>
                  </a:cubicBezTo>
                  <a:cubicBezTo>
                    <a:pt x="687" y="124"/>
                    <a:pt x="686" y="124"/>
                    <a:pt x="685" y="124"/>
                  </a:cubicBezTo>
                  <a:cubicBezTo>
                    <a:pt x="684" y="125"/>
                    <a:pt x="683" y="126"/>
                    <a:pt x="683" y="127"/>
                  </a:cubicBezTo>
                  <a:cubicBezTo>
                    <a:pt x="682" y="128"/>
                    <a:pt x="683" y="129"/>
                    <a:pt x="684" y="130"/>
                  </a:cubicBezTo>
                  <a:cubicBezTo>
                    <a:pt x="686" y="130"/>
                    <a:pt x="686" y="129"/>
                    <a:pt x="688" y="129"/>
                  </a:cubicBezTo>
                  <a:cubicBezTo>
                    <a:pt x="689" y="128"/>
                    <a:pt x="692" y="126"/>
                    <a:pt x="690" y="129"/>
                  </a:cubicBezTo>
                  <a:cubicBezTo>
                    <a:pt x="689" y="132"/>
                    <a:pt x="685" y="133"/>
                    <a:pt x="682" y="135"/>
                  </a:cubicBezTo>
                  <a:cubicBezTo>
                    <a:pt x="679" y="137"/>
                    <a:pt x="677" y="137"/>
                    <a:pt x="674" y="139"/>
                  </a:cubicBezTo>
                  <a:cubicBezTo>
                    <a:pt x="671" y="139"/>
                    <a:pt x="671" y="138"/>
                    <a:pt x="669" y="140"/>
                  </a:cubicBezTo>
                  <a:cubicBezTo>
                    <a:pt x="667" y="141"/>
                    <a:pt x="666" y="142"/>
                    <a:pt x="665" y="144"/>
                  </a:cubicBezTo>
                  <a:cubicBezTo>
                    <a:pt x="664" y="145"/>
                    <a:pt x="664" y="148"/>
                    <a:pt x="663" y="149"/>
                  </a:cubicBezTo>
                  <a:cubicBezTo>
                    <a:pt x="661" y="155"/>
                    <a:pt x="661" y="153"/>
                    <a:pt x="660" y="150"/>
                  </a:cubicBezTo>
                  <a:cubicBezTo>
                    <a:pt x="659" y="149"/>
                    <a:pt x="652" y="147"/>
                    <a:pt x="656" y="145"/>
                  </a:cubicBezTo>
                  <a:cubicBezTo>
                    <a:pt x="658" y="144"/>
                    <a:pt x="659" y="142"/>
                    <a:pt x="659" y="141"/>
                  </a:cubicBezTo>
                  <a:cubicBezTo>
                    <a:pt x="661" y="140"/>
                    <a:pt x="664" y="139"/>
                    <a:pt x="666" y="138"/>
                  </a:cubicBezTo>
                  <a:cubicBezTo>
                    <a:pt x="670" y="135"/>
                    <a:pt x="667" y="132"/>
                    <a:pt x="664" y="135"/>
                  </a:cubicBezTo>
                  <a:cubicBezTo>
                    <a:pt x="660" y="136"/>
                    <a:pt x="658" y="137"/>
                    <a:pt x="656" y="132"/>
                  </a:cubicBezTo>
                  <a:cubicBezTo>
                    <a:pt x="656" y="132"/>
                    <a:pt x="656" y="131"/>
                    <a:pt x="655" y="131"/>
                  </a:cubicBezTo>
                  <a:cubicBezTo>
                    <a:pt x="655" y="131"/>
                    <a:pt x="651" y="128"/>
                    <a:pt x="650" y="129"/>
                  </a:cubicBezTo>
                  <a:cubicBezTo>
                    <a:pt x="649" y="130"/>
                    <a:pt x="647" y="131"/>
                    <a:pt x="646" y="129"/>
                  </a:cubicBezTo>
                  <a:cubicBezTo>
                    <a:pt x="645" y="129"/>
                    <a:pt x="644" y="129"/>
                    <a:pt x="644" y="129"/>
                  </a:cubicBezTo>
                  <a:cubicBezTo>
                    <a:pt x="642" y="131"/>
                    <a:pt x="642" y="135"/>
                    <a:pt x="642" y="136"/>
                  </a:cubicBezTo>
                  <a:cubicBezTo>
                    <a:pt x="642" y="137"/>
                    <a:pt x="643" y="138"/>
                    <a:pt x="644" y="138"/>
                  </a:cubicBezTo>
                  <a:cubicBezTo>
                    <a:pt x="644" y="138"/>
                    <a:pt x="645" y="138"/>
                    <a:pt x="645" y="138"/>
                  </a:cubicBezTo>
                  <a:cubicBezTo>
                    <a:pt x="645" y="138"/>
                    <a:pt x="645" y="138"/>
                    <a:pt x="645" y="138"/>
                  </a:cubicBezTo>
                  <a:cubicBezTo>
                    <a:pt x="647" y="138"/>
                    <a:pt x="647" y="139"/>
                    <a:pt x="647" y="141"/>
                  </a:cubicBezTo>
                  <a:cubicBezTo>
                    <a:pt x="643" y="140"/>
                    <a:pt x="643" y="140"/>
                    <a:pt x="641" y="137"/>
                  </a:cubicBezTo>
                  <a:cubicBezTo>
                    <a:pt x="640" y="136"/>
                    <a:pt x="640" y="135"/>
                    <a:pt x="638" y="135"/>
                  </a:cubicBezTo>
                  <a:cubicBezTo>
                    <a:pt x="638" y="135"/>
                    <a:pt x="638" y="135"/>
                    <a:pt x="638" y="135"/>
                  </a:cubicBezTo>
                  <a:cubicBezTo>
                    <a:pt x="637" y="136"/>
                    <a:pt x="637" y="137"/>
                    <a:pt x="638" y="138"/>
                  </a:cubicBezTo>
                  <a:cubicBezTo>
                    <a:pt x="638" y="138"/>
                    <a:pt x="638" y="138"/>
                    <a:pt x="638" y="138"/>
                  </a:cubicBezTo>
                  <a:cubicBezTo>
                    <a:pt x="637" y="138"/>
                    <a:pt x="636" y="139"/>
                    <a:pt x="635" y="139"/>
                  </a:cubicBezTo>
                  <a:cubicBezTo>
                    <a:pt x="632" y="141"/>
                    <a:pt x="629" y="139"/>
                    <a:pt x="626" y="137"/>
                  </a:cubicBezTo>
                  <a:cubicBezTo>
                    <a:pt x="622" y="136"/>
                    <a:pt x="618" y="137"/>
                    <a:pt x="615" y="138"/>
                  </a:cubicBezTo>
                  <a:cubicBezTo>
                    <a:pt x="613" y="139"/>
                    <a:pt x="609" y="140"/>
                    <a:pt x="608" y="138"/>
                  </a:cubicBezTo>
                  <a:cubicBezTo>
                    <a:pt x="607" y="138"/>
                    <a:pt x="606" y="137"/>
                    <a:pt x="605" y="138"/>
                  </a:cubicBezTo>
                  <a:cubicBezTo>
                    <a:pt x="605" y="138"/>
                    <a:pt x="603" y="136"/>
                    <a:pt x="602" y="135"/>
                  </a:cubicBezTo>
                  <a:cubicBezTo>
                    <a:pt x="600" y="134"/>
                    <a:pt x="600" y="133"/>
                    <a:pt x="599" y="131"/>
                  </a:cubicBezTo>
                  <a:cubicBezTo>
                    <a:pt x="599" y="129"/>
                    <a:pt x="593" y="130"/>
                    <a:pt x="592" y="129"/>
                  </a:cubicBezTo>
                  <a:cubicBezTo>
                    <a:pt x="590" y="129"/>
                    <a:pt x="589" y="128"/>
                    <a:pt x="588" y="126"/>
                  </a:cubicBezTo>
                  <a:cubicBezTo>
                    <a:pt x="588" y="127"/>
                    <a:pt x="588" y="125"/>
                    <a:pt x="587" y="125"/>
                  </a:cubicBezTo>
                  <a:cubicBezTo>
                    <a:pt x="584" y="122"/>
                    <a:pt x="588" y="120"/>
                    <a:pt x="588" y="118"/>
                  </a:cubicBezTo>
                  <a:cubicBezTo>
                    <a:pt x="589" y="116"/>
                    <a:pt x="588" y="113"/>
                    <a:pt x="585" y="113"/>
                  </a:cubicBezTo>
                  <a:cubicBezTo>
                    <a:pt x="583" y="113"/>
                    <a:pt x="580" y="114"/>
                    <a:pt x="578" y="114"/>
                  </a:cubicBezTo>
                  <a:cubicBezTo>
                    <a:pt x="575" y="114"/>
                    <a:pt x="573" y="114"/>
                    <a:pt x="570" y="115"/>
                  </a:cubicBezTo>
                  <a:cubicBezTo>
                    <a:pt x="565" y="116"/>
                    <a:pt x="562" y="116"/>
                    <a:pt x="558" y="120"/>
                  </a:cubicBezTo>
                  <a:cubicBezTo>
                    <a:pt x="556" y="121"/>
                    <a:pt x="557" y="122"/>
                    <a:pt x="558" y="123"/>
                  </a:cubicBezTo>
                  <a:cubicBezTo>
                    <a:pt x="561" y="126"/>
                    <a:pt x="564" y="125"/>
                    <a:pt x="567" y="124"/>
                  </a:cubicBezTo>
                  <a:cubicBezTo>
                    <a:pt x="572" y="122"/>
                    <a:pt x="576" y="121"/>
                    <a:pt x="581" y="121"/>
                  </a:cubicBezTo>
                  <a:cubicBezTo>
                    <a:pt x="581" y="121"/>
                    <a:pt x="581" y="121"/>
                    <a:pt x="581" y="121"/>
                  </a:cubicBezTo>
                  <a:cubicBezTo>
                    <a:pt x="581" y="121"/>
                    <a:pt x="580" y="122"/>
                    <a:pt x="580" y="122"/>
                  </a:cubicBezTo>
                  <a:cubicBezTo>
                    <a:pt x="579" y="122"/>
                    <a:pt x="578" y="122"/>
                    <a:pt x="577" y="122"/>
                  </a:cubicBezTo>
                  <a:cubicBezTo>
                    <a:pt x="576" y="122"/>
                    <a:pt x="576" y="122"/>
                    <a:pt x="575" y="123"/>
                  </a:cubicBezTo>
                  <a:cubicBezTo>
                    <a:pt x="573" y="124"/>
                    <a:pt x="573" y="125"/>
                    <a:pt x="571" y="124"/>
                  </a:cubicBezTo>
                  <a:cubicBezTo>
                    <a:pt x="571" y="124"/>
                    <a:pt x="570" y="124"/>
                    <a:pt x="569" y="124"/>
                  </a:cubicBezTo>
                  <a:cubicBezTo>
                    <a:pt x="565" y="127"/>
                    <a:pt x="561" y="128"/>
                    <a:pt x="556" y="129"/>
                  </a:cubicBezTo>
                  <a:cubicBezTo>
                    <a:pt x="556" y="129"/>
                    <a:pt x="556" y="129"/>
                    <a:pt x="556" y="129"/>
                  </a:cubicBezTo>
                  <a:cubicBezTo>
                    <a:pt x="555" y="133"/>
                    <a:pt x="554" y="136"/>
                    <a:pt x="552" y="139"/>
                  </a:cubicBezTo>
                  <a:cubicBezTo>
                    <a:pt x="551" y="140"/>
                    <a:pt x="551" y="142"/>
                    <a:pt x="552" y="144"/>
                  </a:cubicBezTo>
                  <a:cubicBezTo>
                    <a:pt x="552" y="149"/>
                    <a:pt x="548" y="145"/>
                    <a:pt x="547" y="144"/>
                  </a:cubicBezTo>
                  <a:cubicBezTo>
                    <a:pt x="547" y="144"/>
                    <a:pt x="547" y="144"/>
                    <a:pt x="547" y="145"/>
                  </a:cubicBezTo>
                  <a:cubicBezTo>
                    <a:pt x="545" y="146"/>
                    <a:pt x="545" y="148"/>
                    <a:pt x="544" y="150"/>
                  </a:cubicBezTo>
                  <a:cubicBezTo>
                    <a:pt x="544" y="150"/>
                    <a:pt x="544" y="149"/>
                    <a:pt x="544" y="149"/>
                  </a:cubicBezTo>
                  <a:cubicBezTo>
                    <a:pt x="544" y="147"/>
                    <a:pt x="543" y="146"/>
                    <a:pt x="544" y="144"/>
                  </a:cubicBezTo>
                  <a:cubicBezTo>
                    <a:pt x="544" y="144"/>
                    <a:pt x="543" y="143"/>
                    <a:pt x="543" y="142"/>
                  </a:cubicBezTo>
                  <a:cubicBezTo>
                    <a:pt x="543" y="142"/>
                    <a:pt x="547" y="142"/>
                    <a:pt x="547" y="142"/>
                  </a:cubicBezTo>
                  <a:cubicBezTo>
                    <a:pt x="549" y="142"/>
                    <a:pt x="549" y="141"/>
                    <a:pt x="549" y="139"/>
                  </a:cubicBezTo>
                  <a:cubicBezTo>
                    <a:pt x="549" y="138"/>
                    <a:pt x="548" y="134"/>
                    <a:pt x="546" y="133"/>
                  </a:cubicBezTo>
                  <a:cubicBezTo>
                    <a:pt x="543" y="131"/>
                    <a:pt x="542" y="127"/>
                    <a:pt x="539" y="125"/>
                  </a:cubicBezTo>
                  <a:cubicBezTo>
                    <a:pt x="538" y="124"/>
                    <a:pt x="532" y="126"/>
                    <a:pt x="531" y="127"/>
                  </a:cubicBezTo>
                  <a:cubicBezTo>
                    <a:pt x="530" y="127"/>
                    <a:pt x="529" y="128"/>
                    <a:pt x="528" y="128"/>
                  </a:cubicBezTo>
                  <a:cubicBezTo>
                    <a:pt x="527" y="128"/>
                    <a:pt x="526" y="128"/>
                    <a:pt x="525" y="128"/>
                  </a:cubicBezTo>
                  <a:cubicBezTo>
                    <a:pt x="521" y="128"/>
                    <a:pt x="517" y="128"/>
                    <a:pt x="513" y="129"/>
                  </a:cubicBezTo>
                  <a:cubicBezTo>
                    <a:pt x="511" y="129"/>
                    <a:pt x="509" y="128"/>
                    <a:pt x="508" y="127"/>
                  </a:cubicBezTo>
                  <a:cubicBezTo>
                    <a:pt x="505" y="126"/>
                    <a:pt x="502" y="128"/>
                    <a:pt x="498" y="126"/>
                  </a:cubicBezTo>
                  <a:cubicBezTo>
                    <a:pt x="498" y="126"/>
                    <a:pt x="493" y="123"/>
                    <a:pt x="497" y="122"/>
                  </a:cubicBezTo>
                  <a:cubicBezTo>
                    <a:pt x="497" y="122"/>
                    <a:pt x="498" y="122"/>
                    <a:pt x="498" y="122"/>
                  </a:cubicBezTo>
                  <a:cubicBezTo>
                    <a:pt x="501" y="120"/>
                    <a:pt x="503" y="120"/>
                    <a:pt x="507" y="120"/>
                  </a:cubicBezTo>
                  <a:cubicBezTo>
                    <a:pt x="509" y="121"/>
                    <a:pt x="512" y="121"/>
                    <a:pt x="513" y="119"/>
                  </a:cubicBezTo>
                  <a:cubicBezTo>
                    <a:pt x="517" y="114"/>
                    <a:pt x="516" y="110"/>
                    <a:pt x="511" y="106"/>
                  </a:cubicBezTo>
                  <a:cubicBezTo>
                    <a:pt x="509" y="105"/>
                    <a:pt x="507" y="105"/>
                    <a:pt x="505" y="106"/>
                  </a:cubicBezTo>
                  <a:cubicBezTo>
                    <a:pt x="503" y="107"/>
                    <a:pt x="502" y="110"/>
                    <a:pt x="499" y="108"/>
                  </a:cubicBezTo>
                  <a:cubicBezTo>
                    <a:pt x="497" y="107"/>
                    <a:pt x="496" y="106"/>
                    <a:pt x="494" y="106"/>
                  </a:cubicBezTo>
                  <a:cubicBezTo>
                    <a:pt x="490" y="104"/>
                    <a:pt x="487" y="102"/>
                    <a:pt x="483" y="101"/>
                  </a:cubicBezTo>
                  <a:cubicBezTo>
                    <a:pt x="480" y="100"/>
                    <a:pt x="478" y="100"/>
                    <a:pt x="477" y="96"/>
                  </a:cubicBezTo>
                  <a:cubicBezTo>
                    <a:pt x="477" y="96"/>
                    <a:pt x="476" y="94"/>
                    <a:pt x="475" y="94"/>
                  </a:cubicBezTo>
                  <a:cubicBezTo>
                    <a:pt x="472" y="92"/>
                    <a:pt x="469" y="91"/>
                    <a:pt x="466" y="91"/>
                  </a:cubicBezTo>
                  <a:cubicBezTo>
                    <a:pt x="462" y="91"/>
                    <a:pt x="459" y="96"/>
                    <a:pt x="456" y="97"/>
                  </a:cubicBezTo>
                  <a:cubicBezTo>
                    <a:pt x="454" y="97"/>
                    <a:pt x="452" y="97"/>
                    <a:pt x="450" y="98"/>
                  </a:cubicBezTo>
                  <a:cubicBezTo>
                    <a:pt x="447" y="98"/>
                    <a:pt x="450" y="96"/>
                    <a:pt x="451" y="95"/>
                  </a:cubicBezTo>
                  <a:cubicBezTo>
                    <a:pt x="455" y="94"/>
                    <a:pt x="456" y="91"/>
                    <a:pt x="458" y="87"/>
                  </a:cubicBezTo>
                  <a:cubicBezTo>
                    <a:pt x="458" y="87"/>
                    <a:pt x="458" y="87"/>
                    <a:pt x="457" y="87"/>
                  </a:cubicBezTo>
                  <a:cubicBezTo>
                    <a:pt x="455" y="86"/>
                    <a:pt x="453" y="87"/>
                    <a:pt x="452" y="89"/>
                  </a:cubicBezTo>
                  <a:cubicBezTo>
                    <a:pt x="450" y="90"/>
                    <a:pt x="449" y="92"/>
                    <a:pt x="448" y="93"/>
                  </a:cubicBezTo>
                  <a:cubicBezTo>
                    <a:pt x="445" y="96"/>
                    <a:pt x="447" y="94"/>
                    <a:pt x="443" y="96"/>
                  </a:cubicBezTo>
                  <a:cubicBezTo>
                    <a:pt x="443" y="96"/>
                    <a:pt x="443" y="96"/>
                    <a:pt x="443" y="96"/>
                  </a:cubicBezTo>
                  <a:cubicBezTo>
                    <a:pt x="442" y="97"/>
                    <a:pt x="440" y="97"/>
                    <a:pt x="439" y="95"/>
                  </a:cubicBezTo>
                  <a:cubicBezTo>
                    <a:pt x="440" y="93"/>
                    <a:pt x="439" y="91"/>
                    <a:pt x="441" y="89"/>
                  </a:cubicBezTo>
                  <a:cubicBezTo>
                    <a:pt x="442" y="88"/>
                    <a:pt x="443" y="87"/>
                    <a:pt x="443" y="86"/>
                  </a:cubicBezTo>
                  <a:cubicBezTo>
                    <a:pt x="443" y="85"/>
                    <a:pt x="445" y="79"/>
                    <a:pt x="443" y="78"/>
                  </a:cubicBezTo>
                  <a:cubicBezTo>
                    <a:pt x="439" y="78"/>
                    <a:pt x="438" y="82"/>
                    <a:pt x="436" y="84"/>
                  </a:cubicBezTo>
                  <a:cubicBezTo>
                    <a:pt x="434" y="85"/>
                    <a:pt x="431" y="86"/>
                    <a:pt x="429" y="87"/>
                  </a:cubicBezTo>
                  <a:cubicBezTo>
                    <a:pt x="427" y="88"/>
                    <a:pt x="424" y="91"/>
                    <a:pt x="422" y="91"/>
                  </a:cubicBezTo>
                  <a:cubicBezTo>
                    <a:pt x="420" y="91"/>
                    <a:pt x="418" y="91"/>
                    <a:pt x="416" y="92"/>
                  </a:cubicBezTo>
                  <a:cubicBezTo>
                    <a:pt x="413" y="92"/>
                    <a:pt x="411" y="93"/>
                    <a:pt x="409" y="95"/>
                  </a:cubicBezTo>
                  <a:cubicBezTo>
                    <a:pt x="407" y="95"/>
                    <a:pt x="405" y="97"/>
                    <a:pt x="403" y="98"/>
                  </a:cubicBezTo>
                  <a:cubicBezTo>
                    <a:pt x="400" y="98"/>
                    <a:pt x="397" y="98"/>
                    <a:pt x="394" y="98"/>
                  </a:cubicBezTo>
                  <a:cubicBezTo>
                    <a:pt x="393" y="98"/>
                    <a:pt x="393" y="99"/>
                    <a:pt x="393" y="99"/>
                  </a:cubicBezTo>
                  <a:cubicBezTo>
                    <a:pt x="395" y="98"/>
                    <a:pt x="397" y="96"/>
                    <a:pt x="399" y="96"/>
                  </a:cubicBezTo>
                  <a:cubicBezTo>
                    <a:pt x="403" y="94"/>
                    <a:pt x="408" y="93"/>
                    <a:pt x="412" y="91"/>
                  </a:cubicBezTo>
                  <a:cubicBezTo>
                    <a:pt x="414" y="91"/>
                    <a:pt x="424" y="88"/>
                    <a:pt x="425" y="85"/>
                  </a:cubicBezTo>
                  <a:cubicBezTo>
                    <a:pt x="425" y="85"/>
                    <a:pt x="425" y="84"/>
                    <a:pt x="424" y="84"/>
                  </a:cubicBezTo>
                  <a:cubicBezTo>
                    <a:pt x="422" y="83"/>
                    <a:pt x="418" y="84"/>
                    <a:pt x="416" y="85"/>
                  </a:cubicBezTo>
                  <a:cubicBezTo>
                    <a:pt x="410" y="86"/>
                    <a:pt x="405" y="88"/>
                    <a:pt x="400" y="90"/>
                  </a:cubicBezTo>
                  <a:cubicBezTo>
                    <a:pt x="394" y="93"/>
                    <a:pt x="389" y="94"/>
                    <a:pt x="383" y="97"/>
                  </a:cubicBezTo>
                  <a:cubicBezTo>
                    <a:pt x="381" y="99"/>
                    <a:pt x="378" y="100"/>
                    <a:pt x="375" y="101"/>
                  </a:cubicBezTo>
                  <a:cubicBezTo>
                    <a:pt x="373" y="103"/>
                    <a:pt x="371" y="104"/>
                    <a:pt x="368" y="105"/>
                  </a:cubicBezTo>
                  <a:cubicBezTo>
                    <a:pt x="368" y="106"/>
                    <a:pt x="367" y="106"/>
                    <a:pt x="367" y="107"/>
                  </a:cubicBezTo>
                  <a:cubicBezTo>
                    <a:pt x="364" y="108"/>
                    <a:pt x="366" y="105"/>
                    <a:pt x="368" y="104"/>
                  </a:cubicBezTo>
                  <a:cubicBezTo>
                    <a:pt x="370" y="102"/>
                    <a:pt x="373" y="102"/>
                    <a:pt x="376" y="100"/>
                  </a:cubicBezTo>
                  <a:cubicBezTo>
                    <a:pt x="378" y="99"/>
                    <a:pt x="384" y="97"/>
                    <a:pt x="385" y="94"/>
                  </a:cubicBezTo>
                  <a:cubicBezTo>
                    <a:pt x="386" y="89"/>
                    <a:pt x="372" y="97"/>
                    <a:pt x="371" y="98"/>
                  </a:cubicBezTo>
                  <a:cubicBezTo>
                    <a:pt x="369" y="99"/>
                    <a:pt x="361" y="105"/>
                    <a:pt x="358" y="104"/>
                  </a:cubicBezTo>
                  <a:cubicBezTo>
                    <a:pt x="356" y="104"/>
                    <a:pt x="355" y="104"/>
                    <a:pt x="353" y="104"/>
                  </a:cubicBezTo>
                  <a:cubicBezTo>
                    <a:pt x="350" y="105"/>
                    <a:pt x="351" y="99"/>
                    <a:pt x="351" y="97"/>
                  </a:cubicBezTo>
                  <a:cubicBezTo>
                    <a:pt x="350" y="95"/>
                    <a:pt x="348" y="96"/>
                    <a:pt x="346" y="96"/>
                  </a:cubicBezTo>
                  <a:cubicBezTo>
                    <a:pt x="344" y="95"/>
                    <a:pt x="341" y="95"/>
                    <a:pt x="339" y="95"/>
                  </a:cubicBezTo>
                  <a:cubicBezTo>
                    <a:pt x="336" y="94"/>
                    <a:pt x="336" y="93"/>
                    <a:pt x="336" y="91"/>
                  </a:cubicBezTo>
                  <a:cubicBezTo>
                    <a:pt x="336" y="89"/>
                    <a:pt x="333" y="90"/>
                    <a:pt x="331" y="90"/>
                  </a:cubicBezTo>
                  <a:cubicBezTo>
                    <a:pt x="326" y="92"/>
                    <a:pt x="321" y="93"/>
                    <a:pt x="316" y="93"/>
                  </a:cubicBezTo>
                  <a:cubicBezTo>
                    <a:pt x="313" y="93"/>
                    <a:pt x="310" y="93"/>
                    <a:pt x="307" y="91"/>
                  </a:cubicBezTo>
                  <a:cubicBezTo>
                    <a:pt x="307" y="91"/>
                    <a:pt x="305" y="90"/>
                    <a:pt x="304" y="91"/>
                  </a:cubicBezTo>
                  <a:cubicBezTo>
                    <a:pt x="302" y="91"/>
                    <a:pt x="301" y="92"/>
                    <a:pt x="299" y="93"/>
                  </a:cubicBezTo>
                  <a:cubicBezTo>
                    <a:pt x="297" y="93"/>
                    <a:pt x="300" y="89"/>
                    <a:pt x="300" y="89"/>
                  </a:cubicBezTo>
                  <a:cubicBezTo>
                    <a:pt x="301" y="88"/>
                    <a:pt x="300" y="88"/>
                    <a:pt x="300" y="88"/>
                  </a:cubicBezTo>
                  <a:cubicBezTo>
                    <a:pt x="297" y="87"/>
                    <a:pt x="293" y="88"/>
                    <a:pt x="290" y="88"/>
                  </a:cubicBezTo>
                  <a:cubicBezTo>
                    <a:pt x="288" y="88"/>
                    <a:pt x="287" y="90"/>
                    <a:pt x="285" y="91"/>
                  </a:cubicBezTo>
                  <a:cubicBezTo>
                    <a:pt x="282" y="93"/>
                    <a:pt x="279" y="94"/>
                    <a:pt x="275" y="95"/>
                  </a:cubicBezTo>
                  <a:cubicBezTo>
                    <a:pt x="272" y="96"/>
                    <a:pt x="269" y="98"/>
                    <a:pt x="266" y="100"/>
                  </a:cubicBezTo>
                  <a:cubicBezTo>
                    <a:pt x="266" y="100"/>
                    <a:pt x="266" y="100"/>
                    <a:pt x="266" y="100"/>
                  </a:cubicBezTo>
                  <a:cubicBezTo>
                    <a:pt x="258" y="104"/>
                    <a:pt x="250" y="109"/>
                    <a:pt x="242" y="114"/>
                  </a:cubicBezTo>
                  <a:cubicBezTo>
                    <a:pt x="242" y="114"/>
                    <a:pt x="242" y="114"/>
                    <a:pt x="242" y="114"/>
                  </a:cubicBezTo>
                  <a:cubicBezTo>
                    <a:pt x="242" y="114"/>
                    <a:pt x="241" y="114"/>
                    <a:pt x="241" y="114"/>
                  </a:cubicBezTo>
                  <a:cubicBezTo>
                    <a:pt x="220" y="127"/>
                    <a:pt x="199" y="141"/>
                    <a:pt x="180" y="156"/>
                  </a:cubicBezTo>
                  <a:cubicBezTo>
                    <a:pt x="178" y="158"/>
                    <a:pt x="176" y="160"/>
                    <a:pt x="177" y="162"/>
                  </a:cubicBezTo>
                  <a:cubicBezTo>
                    <a:pt x="178" y="164"/>
                    <a:pt x="180" y="163"/>
                    <a:pt x="182" y="163"/>
                  </a:cubicBezTo>
                  <a:cubicBezTo>
                    <a:pt x="179" y="165"/>
                    <a:pt x="175" y="164"/>
                    <a:pt x="173" y="167"/>
                  </a:cubicBezTo>
                  <a:cubicBezTo>
                    <a:pt x="171" y="169"/>
                    <a:pt x="171" y="170"/>
                    <a:pt x="168" y="172"/>
                  </a:cubicBezTo>
                  <a:cubicBezTo>
                    <a:pt x="167" y="173"/>
                    <a:pt x="164" y="174"/>
                    <a:pt x="162" y="175"/>
                  </a:cubicBezTo>
                  <a:cubicBezTo>
                    <a:pt x="164" y="173"/>
                    <a:pt x="165" y="172"/>
                    <a:pt x="166" y="170"/>
                  </a:cubicBezTo>
                  <a:cubicBezTo>
                    <a:pt x="166" y="170"/>
                    <a:pt x="165" y="169"/>
                    <a:pt x="165" y="169"/>
                  </a:cubicBezTo>
                  <a:cubicBezTo>
                    <a:pt x="162" y="170"/>
                    <a:pt x="159" y="173"/>
                    <a:pt x="157" y="175"/>
                  </a:cubicBezTo>
                  <a:cubicBezTo>
                    <a:pt x="155" y="176"/>
                    <a:pt x="153" y="178"/>
                    <a:pt x="151" y="179"/>
                  </a:cubicBezTo>
                  <a:cubicBezTo>
                    <a:pt x="144" y="185"/>
                    <a:pt x="136" y="191"/>
                    <a:pt x="129" y="198"/>
                  </a:cubicBezTo>
                  <a:cubicBezTo>
                    <a:pt x="129" y="199"/>
                    <a:pt x="128" y="200"/>
                    <a:pt x="127" y="201"/>
                  </a:cubicBezTo>
                  <a:cubicBezTo>
                    <a:pt x="125" y="202"/>
                    <a:pt x="122" y="208"/>
                    <a:pt x="127" y="207"/>
                  </a:cubicBezTo>
                  <a:cubicBezTo>
                    <a:pt x="128" y="207"/>
                    <a:pt x="130" y="205"/>
                    <a:pt x="131" y="204"/>
                  </a:cubicBezTo>
                  <a:cubicBezTo>
                    <a:pt x="133" y="203"/>
                    <a:pt x="136" y="202"/>
                    <a:pt x="138" y="201"/>
                  </a:cubicBezTo>
                  <a:cubicBezTo>
                    <a:pt x="139" y="201"/>
                    <a:pt x="140" y="200"/>
                    <a:pt x="141" y="199"/>
                  </a:cubicBezTo>
                  <a:cubicBezTo>
                    <a:pt x="141" y="199"/>
                    <a:pt x="141" y="199"/>
                    <a:pt x="141" y="200"/>
                  </a:cubicBezTo>
                  <a:cubicBezTo>
                    <a:pt x="140" y="203"/>
                    <a:pt x="137" y="205"/>
                    <a:pt x="135" y="208"/>
                  </a:cubicBezTo>
                  <a:cubicBezTo>
                    <a:pt x="132" y="211"/>
                    <a:pt x="129" y="213"/>
                    <a:pt x="126" y="215"/>
                  </a:cubicBezTo>
                  <a:cubicBezTo>
                    <a:pt x="124" y="216"/>
                    <a:pt x="121" y="216"/>
                    <a:pt x="120" y="217"/>
                  </a:cubicBezTo>
                  <a:cubicBezTo>
                    <a:pt x="116" y="220"/>
                    <a:pt x="114" y="223"/>
                    <a:pt x="109" y="224"/>
                  </a:cubicBezTo>
                  <a:cubicBezTo>
                    <a:pt x="104" y="226"/>
                    <a:pt x="100" y="232"/>
                    <a:pt x="97" y="236"/>
                  </a:cubicBezTo>
                  <a:cubicBezTo>
                    <a:pt x="93" y="241"/>
                    <a:pt x="89" y="247"/>
                    <a:pt x="83" y="251"/>
                  </a:cubicBezTo>
                  <a:cubicBezTo>
                    <a:pt x="80" y="253"/>
                    <a:pt x="75" y="258"/>
                    <a:pt x="75" y="262"/>
                  </a:cubicBezTo>
                  <a:cubicBezTo>
                    <a:pt x="75" y="263"/>
                    <a:pt x="76" y="264"/>
                    <a:pt x="77" y="264"/>
                  </a:cubicBezTo>
                  <a:cubicBezTo>
                    <a:pt x="77" y="264"/>
                    <a:pt x="74" y="265"/>
                    <a:pt x="73" y="266"/>
                  </a:cubicBezTo>
                  <a:cubicBezTo>
                    <a:pt x="71" y="267"/>
                    <a:pt x="70" y="268"/>
                    <a:pt x="69" y="270"/>
                  </a:cubicBezTo>
                  <a:cubicBezTo>
                    <a:pt x="68" y="273"/>
                    <a:pt x="66" y="275"/>
                    <a:pt x="65" y="278"/>
                  </a:cubicBezTo>
                  <a:cubicBezTo>
                    <a:pt x="65" y="278"/>
                    <a:pt x="65" y="279"/>
                    <a:pt x="66" y="279"/>
                  </a:cubicBezTo>
                  <a:cubicBezTo>
                    <a:pt x="68" y="280"/>
                    <a:pt x="72" y="277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2" y="278"/>
                    <a:pt x="70" y="280"/>
                    <a:pt x="68" y="282"/>
                  </a:cubicBezTo>
                  <a:cubicBezTo>
                    <a:pt x="66" y="284"/>
                    <a:pt x="65" y="286"/>
                    <a:pt x="64" y="288"/>
                  </a:cubicBezTo>
                  <a:cubicBezTo>
                    <a:pt x="63" y="292"/>
                    <a:pt x="60" y="295"/>
                    <a:pt x="58" y="299"/>
                  </a:cubicBezTo>
                  <a:cubicBezTo>
                    <a:pt x="57" y="300"/>
                    <a:pt x="58" y="300"/>
                    <a:pt x="59" y="300"/>
                  </a:cubicBezTo>
                  <a:cubicBezTo>
                    <a:pt x="62" y="299"/>
                    <a:pt x="64" y="296"/>
                    <a:pt x="66" y="294"/>
                  </a:cubicBezTo>
                  <a:cubicBezTo>
                    <a:pt x="67" y="293"/>
                    <a:pt x="68" y="293"/>
                    <a:pt x="69" y="292"/>
                  </a:cubicBezTo>
                  <a:cubicBezTo>
                    <a:pt x="70" y="291"/>
                    <a:pt x="69" y="296"/>
                    <a:pt x="69" y="296"/>
                  </a:cubicBezTo>
                  <a:cubicBezTo>
                    <a:pt x="68" y="297"/>
                    <a:pt x="70" y="298"/>
                    <a:pt x="71" y="297"/>
                  </a:cubicBezTo>
                  <a:cubicBezTo>
                    <a:pt x="73" y="293"/>
                    <a:pt x="75" y="290"/>
                    <a:pt x="78" y="287"/>
                  </a:cubicBezTo>
                  <a:cubicBezTo>
                    <a:pt x="78" y="289"/>
                    <a:pt x="77" y="290"/>
                    <a:pt x="76" y="291"/>
                  </a:cubicBezTo>
                  <a:cubicBezTo>
                    <a:pt x="75" y="292"/>
                    <a:pt x="77" y="293"/>
                    <a:pt x="78" y="292"/>
                  </a:cubicBezTo>
                  <a:cubicBezTo>
                    <a:pt x="80" y="290"/>
                    <a:pt x="83" y="287"/>
                    <a:pt x="85" y="285"/>
                  </a:cubicBezTo>
                  <a:cubicBezTo>
                    <a:pt x="83" y="288"/>
                    <a:pt x="80" y="292"/>
                    <a:pt x="78" y="293"/>
                  </a:cubicBezTo>
                  <a:cubicBezTo>
                    <a:pt x="74" y="296"/>
                    <a:pt x="71" y="301"/>
                    <a:pt x="68" y="305"/>
                  </a:cubicBezTo>
                  <a:cubicBezTo>
                    <a:pt x="64" y="309"/>
                    <a:pt x="61" y="313"/>
                    <a:pt x="57" y="316"/>
                  </a:cubicBezTo>
                  <a:cubicBezTo>
                    <a:pt x="53" y="320"/>
                    <a:pt x="49" y="325"/>
                    <a:pt x="45" y="329"/>
                  </a:cubicBezTo>
                  <a:cubicBezTo>
                    <a:pt x="42" y="333"/>
                    <a:pt x="38" y="337"/>
                    <a:pt x="34" y="341"/>
                  </a:cubicBezTo>
                  <a:cubicBezTo>
                    <a:pt x="32" y="343"/>
                    <a:pt x="30" y="343"/>
                    <a:pt x="28" y="344"/>
                  </a:cubicBezTo>
                  <a:cubicBezTo>
                    <a:pt x="26" y="346"/>
                    <a:pt x="25" y="347"/>
                    <a:pt x="23" y="348"/>
                  </a:cubicBezTo>
                  <a:cubicBezTo>
                    <a:pt x="20" y="352"/>
                    <a:pt x="17" y="356"/>
                    <a:pt x="13" y="359"/>
                  </a:cubicBezTo>
                  <a:cubicBezTo>
                    <a:pt x="10" y="362"/>
                    <a:pt x="7" y="365"/>
                    <a:pt x="4" y="368"/>
                  </a:cubicBezTo>
                  <a:cubicBezTo>
                    <a:pt x="3" y="369"/>
                    <a:pt x="2" y="370"/>
                    <a:pt x="1" y="371"/>
                  </a:cubicBezTo>
                  <a:cubicBezTo>
                    <a:pt x="0" y="372"/>
                    <a:pt x="2" y="373"/>
                    <a:pt x="2" y="373"/>
                  </a:cubicBezTo>
                  <a:cubicBezTo>
                    <a:pt x="4" y="372"/>
                    <a:pt x="5" y="371"/>
                    <a:pt x="6" y="370"/>
                  </a:cubicBezTo>
                  <a:cubicBezTo>
                    <a:pt x="7" y="369"/>
                    <a:pt x="9" y="368"/>
                    <a:pt x="10" y="367"/>
                  </a:cubicBezTo>
                  <a:cubicBezTo>
                    <a:pt x="12" y="365"/>
                    <a:pt x="14" y="363"/>
                    <a:pt x="16" y="360"/>
                  </a:cubicBezTo>
                  <a:cubicBezTo>
                    <a:pt x="20" y="354"/>
                    <a:pt x="26" y="351"/>
                    <a:pt x="32" y="347"/>
                  </a:cubicBezTo>
                  <a:cubicBezTo>
                    <a:pt x="35" y="345"/>
                    <a:pt x="36" y="343"/>
                    <a:pt x="39" y="341"/>
                  </a:cubicBezTo>
                  <a:cubicBezTo>
                    <a:pt x="41" y="339"/>
                    <a:pt x="45" y="338"/>
                    <a:pt x="47" y="336"/>
                  </a:cubicBezTo>
                  <a:cubicBezTo>
                    <a:pt x="51" y="331"/>
                    <a:pt x="56" y="327"/>
                    <a:pt x="61" y="322"/>
                  </a:cubicBezTo>
                  <a:cubicBezTo>
                    <a:pt x="66" y="318"/>
                    <a:pt x="71" y="314"/>
                    <a:pt x="76" y="310"/>
                  </a:cubicBezTo>
                  <a:cubicBezTo>
                    <a:pt x="79" y="308"/>
                    <a:pt x="81" y="305"/>
                    <a:pt x="83" y="303"/>
                  </a:cubicBezTo>
                  <a:cubicBezTo>
                    <a:pt x="85" y="301"/>
                    <a:pt x="88" y="299"/>
                    <a:pt x="90" y="296"/>
                  </a:cubicBezTo>
                  <a:cubicBezTo>
                    <a:pt x="92" y="293"/>
                    <a:pt x="95" y="291"/>
                    <a:pt x="98" y="289"/>
                  </a:cubicBezTo>
                  <a:cubicBezTo>
                    <a:pt x="100" y="287"/>
                    <a:pt x="103" y="287"/>
                    <a:pt x="105" y="285"/>
                  </a:cubicBezTo>
                  <a:cubicBezTo>
                    <a:pt x="106" y="284"/>
                    <a:pt x="108" y="283"/>
                    <a:pt x="108" y="281"/>
                  </a:cubicBezTo>
                  <a:cubicBezTo>
                    <a:pt x="108" y="281"/>
                    <a:pt x="107" y="281"/>
                    <a:pt x="107" y="280"/>
                  </a:cubicBezTo>
                  <a:cubicBezTo>
                    <a:pt x="106" y="278"/>
                    <a:pt x="106" y="276"/>
                    <a:pt x="106" y="274"/>
                  </a:cubicBezTo>
                  <a:cubicBezTo>
                    <a:pt x="108" y="273"/>
                    <a:pt x="109" y="273"/>
                    <a:pt x="111" y="272"/>
                  </a:cubicBezTo>
                  <a:cubicBezTo>
                    <a:pt x="112" y="272"/>
                    <a:pt x="114" y="272"/>
                    <a:pt x="115" y="271"/>
                  </a:cubicBezTo>
                  <a:cubicBezTo>
                    <a:pt x="116" y="270"/>
                    <a:pt x="117" y="268"/>
                    <a:pt x="119" y="267"/>
                  </a:cubicBezTo>
                  <a:cubicBezTo>
                    <a:pt x="120" y="266"/>
                    <a:pt x="122" y="264"/>
                    <a:pt x="122" y="262"/>
                  </a:cubicBezTo>
                  <a:cubicBezTo>
                    <a:pt x="122" y="261"/>
                    <a:pt x="122" y="261"/>
                    <a:pt x="122" y="260"/>
                  </a:cubicBezTo>
                  <a:cubicBezTo>
                    <a:pt x="124" y="260"/>
                    <a:pt x="126" y="260"/>
                    <a:pt x="128" y="258"/>
                  </a:cubicBezTo>
                  <a:cubicBezTo>
                    <a:pt x="129" y="257"/>
                    <a:pt x="129" y="255"/>
                    <a:pt x="131" y="254"/>
                  </a:cubicBezTo>
                  <a:cubicBezTo>
                    <a:pt x="133" y="253"/>
                    <a:pt x="135" y="251"/>
                    <a:pt x="137" y="250"/>
                  </a:cubicBezTo>
                  <a:cubicBezTo>
                    <a:pt x="141" y="246"/>
                    <a:pt x="145" y="244"/>
                    <a:pt x="150" y="242"/>
                  </a:cubicBezTo>
                  <a:cubicBezTo>
                    <a:pt x="150" y="243"/>
                    <a:pt x="150" y="243"/>
                    <a:pt x="150" y="244"/>
                  </a:cubicBezTo>
                  <a:cubicBezTo>
                    <a:pt x="149" y="246"/>
                    <a:pt x="143" y="247"/>
                    <a:pt x="142" y="248"/>
                  </a:cubicBezTo>
                  <a:cubicBezTo>
                    <a:pt x="138" y="251"/>
                    <a:pt x="134" y="253"/>
                    <a:pt x="132" y="257"/>
                  </a:cubicBezTo>
                  <a:cubicBezTo>
                    <a:pt x="129" y="262"/>
                    <a:pt x="124" y="264"/>
                    <a:pt x="121" y="269"/>
                  </a:cubicBezTo>
                  <a:cubicBezTo>
                    <a:pt x="119" y="272"/>
                    <a:pt x="117" y="274"/>
                    <a:pt x="114" y="277"/>
                  </a:cubicBezTo>
                  <a:cubicBezTo>
                    <a:pt x="113" y="277"/>
                    <a:pt x="112" y="278"/>
                    <a:pt x="112" y="279"/>
                  </a:cubicBezTo>
                  <a:cubicBezTo>
                    <a:pt x="112" y="280"/>
                    <a:pt x="112" y="280"/>
                    <a:pt x="113" y="280"/>
                  </a:cubicBezTo>
                  <a:cubicBezTo>
                    <a:pt x="118" y="281"/>
                    <a:pt x="123" y="274"/>
                    <a:pt x="127" y="271"/>
                  </a:cubicBezTo>
                  <a:cubicBezTo>
                    <a:pt x="130" y="269"/>
                    <a:pt x="134" y="269"/>
                    <a:pt x="137" y="266"/>
                  </a:cubicBezTo>
                  <a:cubicBezTo>
                    <a:pt x="139" y="263"/>
                    <a:pt x="144" y="263"/>
                    <a:pt x="147" y="260"/>
                  </a:cubicBezTo>
                  <a:cubicBezTo>
                    <a:pt x="149" y="259"/>
                    <a:pt x="150" y="257"/>
                    <a:pt x="152" y="256"/>
                  </a:cubicBezTo>
                  <a:cubicBezTo>
                    <a:pt x="153" y="256"/>
                    <a:pt x="154" y="255"/>
                    <a:pt x="155" y="254"/>
                  </a:cubicBezTo>
                  <a:cubicBezTo>
                    <a:pt x="156" y="252"/>
                    <a:pt x="156" y="253"/>
                    <a:pt x="156" y="251"/>
                  </a:cubicBezTo>
                  <a:cubicBezTo>
                    <a:pt x="156" y="251"/>
                    <a:pt x="157" y="243"/>
                    <a:pt x="158" y="245"/>
                  </a:cubicBezTo>
                  <a:cubicBezTo>
                    <a:pt x="159" y="246"/>
                    <a:pt x="160" y="247"/>
                    <a:pt x="161" y="247"/>
                  </a:cubicBezTo>
                  <a:cubicBezTo>
                    <a:pt x="162" y="246"/>
                    <a:pt x="164" y="246"/>
                    <a:pt x="165" y="245"/>
                  </a:cubicBezTo>
                  <a:cubicBezTo>
                    <a:pt x="165" y="246"/>
                    <a:pt x="165" y="247"/>
                    <a:pt x="166" y="248"/>
                  </a:cubicBezTo>
                  <a:cubicBezTo>
                    <a:pt x="166" y="249"/>
                    <a:pt x="167" y="252"/>
                    <a:pt x="168" y="253"/>
                  </a:cubicBezTo>
                  <a:cubicBezTo>
                    <a:pt x="169" y="254"/>
                    <a:pt x="169" y="253"/>
                    <a:pt x="170" y="255"/>
                  </a:cubicBezTo>
                  <a:cubicBezTo>
                    <a:pt x="171" y="258"/>
                    <a:pt x="175" y="258"/>
                    <a:pt x="178" y="258"/>
                  </a:cubicBezTo>
                  <a:cubicBezTo>
                    <a:pt x="180" y="257"/>
                    <a:pt x="184" y="257"/>
                    <a:pt x="186" y="258"/>
                  </a:cubicBezTo>
                  <a:cubicBezTo>
                    <a:pt x="188" y="259"/>
                    <a:pt x="189" y="258"/>
                    <a:pt x="190" y="258"/>
                  </a:cubicBezTo>
                  <a:cubicBezTo>
                    <a:pt x="188" y="259"/>
                    <a:pt x="191" y="261"/>
                    <a:pt x="192" y="262"/>
                  </a:cubicBezTo>
                  <a:cubicBezTo>
                    <a:pt x="194" y="262"/>
                    <a:pt x="198" y="260"/>
                    <a:pt x="196" y="263"/>
                  </a:cubicBezTo>
                  <a:cubicBezTo>
                    <a:pt x="194" y="264"/>
                    <a:pt x="193" y="266"/>
                    <a:pt x="193" y="268"/>
                  </a:cubicBezTo>
                  <a:cubicBezTo>
                    <a:pt x="192" y="272"/>
                    <a:pt x="199" y="275"/>
                    <a:pt x="199" y="279"/>
                  </a:cubicBezTo>
                  <a:cubicBezTo>
                    <a:pt x="199" y="281"/>
                    <a:pt x="200" y="285"/>
                    <a:pt x="204" y="284"/>
                  </a:cubicBezTo>
                  <a:cubicBezTo>
                    <a:pt x="207" y="283"/>
                    <a:pt x="210" y="280"/>
                    <a:pt x="210" y="277"/>
                  </a:cubicBezTo>
                  <a:cubicBezTo>
                    <a:pt x="210" y="279"/>
                    <a:pt x="209" y="281"/>
                    <a:pt x="210" y="282"/>
                  </a:cubicBezTo>
                  <a:cubicBezTo>
                    <a:pt x="211" y="283"/>
                    <a:pt x="211" y="283"/>
                    <a:pt x="212" y="283"/>
                  </a:cubicBezTo>
                  <a:cubicBezTo>
                    <a:pt x="214" y="284"/>
                    <a:pt x="214" y="287"/>
                    <a:pt x="214" y="289"/>
                  </a:cubicBezTo>
                  <a:cubicBezTo>
                    <a:pt x="214" y="291"/>
                    <a:pt x="214" y="292"/>
                    <a:pt x="215" y="293"/>
                  </a:cubicBezTo>
                  <a:cubicBezTo>
                    <a:pt x="217" y="295"/>
                    <a:pt x="221" y="294"/>
                    <a:pt x="219" y="298"/>
                  </a:cubicBezTo>
                  <a:cubicBezTo>
                    <a:pt x="217" y="300"/>
                    <a:pt x="213" y="304"/>
                    <a:pt x="216" y="306"/>
                  </a:cubicBezTo>
                  <a:cubicBezTo>
                    <a:pt x="218" y="307"/>
                    <a:pt x="222" y="316"/>
                    <a:pt x="218" y="318"/>
                  </a:cubicBezTo>
                  <a:cubicBezTo>
                    <a:pt x="217" y="319"/>
                    <a:pt x="216" y="321"/>
                    <a:pt x="215" y="323"/>
                  </a:cubicBezTo>
                  <a:cubicBezTo>
                    <a:pt x="213" y="328"/>
                    <a:pt x="212" y="332"/>
                    <a:pt x="214" y="338"/>
                  </a:cubicBezTo>
                  <a:cubicBezTo>
                    <a:pt x="215" y="339"/>
                    <a:pt x="215" y="346"/>
                    <a:pt x="214" y="347"/>
                  </a:cubicBezTo>
                  <a:cubicBezTo>
                    <a:pt x="212" y="349"/>
                    <a:pt x="212" y="351"/>
                    <a:pt x="211" y="353"/>
                  </a:cubicBezTo>
                  <a:cubicBezTo>
                    <a:pt x="210" y="354"/>
                    <a:pt x="211" y="355"/>
                    <a:pt x="211" y="357"/>
                  </a:cubicBezTo>
                  <a:cubicBezTo>
                    <a:pt x="213" y="360"/>
                    <a:pt x="212" y="363"/>
                    <a:pt x="211" y="367"/>
                  </a:cubicBezTo>
                  <a:cubicBezTo>
                    <a:pt x="211" y="369"/>
                    <a:pt x="219" y="371"/>
                    <a:pt x="214" y="374"/>
                  </a:cubicBezTo>
                  <a:cubicBezTo>
                    <a:pt x="213" y="374"/>
                    <a:pt x="210" y="375"/>
                    <a:pt x="211" y="378"/>
                  </a:cubicBezTo>
                  <a:cubicBezTo>
                    <a:pt x="211" y="379"/>
                    <a:pt x="212" y="380"/>
                    <a:pt x="212" y="382"/>
                  </a:cubicBezTo>
                  <a:cubicBezTo>
                    <a:pt x="213" y="384"/>
                    <a:pt x="215" y="384"/>
                    <a:pt x="215" y="387"/>
                  </a:cubicBezTo>
                  <a:cubicBezTo>
                    <a:pt x="216" y="389"/>
                    <a:pt x="216" y="390"/>
                    <a:pt x="216" y="392"/>
                  </a:cubicBezTo>
                  <a:cubicBezTo>
                    <a:pt x="217" y="396"/>
                    <a:pt x="214" y="395"/>
                    <a:pt x="213" y="397"/>
                  </a:cubicBezTo>
                  <a:cubicBezTo>
                    <a:pt x="211" y="400"/>
                    <a:pt x="211" y="402"/>
                    <a:pt x="211" y="406"/>
                  </a:cubicBezTo>
                  <a:cubicBezTo>
                    <a:pt x="211" y="409"/>
                    <a:pt x="212" y="412"/>
                    <a:pt x="214" y="414"/>
                  </a:cubicBezTo>
                  <a:cubicBezTo>
                    <a:pt x="216" y="415"/>
                    <a:pt x="218" y="416"/>
                    <a:pt x="219" y="418"/>
                  </a:cubicBezTo>
                  <a:cubicBezTo>
                    <a:pt x="220" y="419"/>
                    <a:pt x="220" y="419"/>
                    <a:pt x="221" y="420"/>
                  </a:cubicBezTo>
                  <a:cubicBezTo>
                    <a:pt x="221" y="421"/>
                    <a:pt x="222" y="421"/>
                    <a:pt x="222" y="421"/>
                  </a:cubicBezTo>
                  <a:cubicBezTo>
                    <a:pt x="228" y="421"/>
                    <a:pt x="228" y="426"/>
                    <a:pt x="229" y="430"/>
                  </a:cubicBezTo>
                  <a:cubicBezTo>
                    <a:pt x="229" y="433"/>
                    <a:pt x="232" y="435"/>
                    <a:pt x="233" y="437"/>
                  </a:cubicBezTo>
                  <a:cubicBezTo>
                    <a:pt x="234" y="439"/>
                    <a:pt x="236" y="436"/>
                    <a:pt x="236" y="441"/>
                  </a:cubicBezTo>
                  <a:cubicBezTo>
                    <a:pt x="236" y="444"/>
                    <a:pt x="237" y="446"/>
                    <a:pt x="237" y="448"/>
                  </a:cubicBezTo>
                  <a:cubicBezTo>
                    <a:pt x="238" y="450"/>
                    <a:pt x="240" y="452"/>
                    <a:pt x="240" y="455"/>
                  </a:cubicBezTo>
                  <a:cubicBezTo>
                    <a:pt x="240" y="457"/>
                    <a:pt x="239" y="460"/>
                    <a:pt x="239" y="463"/>
                  </a:cubicBezTo>
                  <a:cubicBezTo>
                    <a:pt x="239" y="464"/>
                    <a:pt x="238" y="465"/>
                    <a:pt x="237" y="466"/>
                  </a:cubicBezTo>
                  <a:cubicBezTo>
                    <a:pt x="237" y="465"/>
                    <a:pt x="237" y="465"/>
                    <a:pt x="237" y="464"/>
                  </a:cubicBezTo>
                  <a:cubicBezTo>
                    <a:pt x="236" y="463"/>
                    <a:pt x="235" y="462"/>
                    <a:pt x="234" y="461"/>
                  </a:cubicBezTo>
                  <a:cubicBezTo>
                    <a:pt x="230" y="459"/>
                    <a:pt x="226" y="462"/>
                    <a:pt x="222" y="458"/>
                  </a:cubicBezTo>
                  <a:cubicBezTo>
                    <a:pt x="221" y="457"/>
                    <a:pt x="219" y="454"/>
                    <a:pt x="217" y="456"/>
                  </a:cubicBezTo>
                  <a:cubicBezTo>
                    <a:pt x="215" y="457"/>
                    <a:pt x="215" y="461"/>
                    <a:pt x="216" y="464"/>
                  </a:cubicBezTo>
                  <a:cubicBezTo>
                    <a:pt x="213" y="468"/>
                    <a:pt x="214" y="478"/>
                    <a:pt x="214" y="482"/>
                  </a:cubicBezTo>
                  <a:cubicBezTo>
                    <a:pt x="214" y="494"/>
                    <a:pt x="207" y="505"/>
                    <a:pt x="202" y="517"/>
                  </a:cubicBezTo>
                  <a:cubicBezTo>
                    <a:pt x="201" y="522"/>
                    <a:pt x="199" y="528"/>
                    <a:pt x="196" y="533"/>
                  </a:cubicBezTo>
                  <a:cubicBezTo>
                    <a:pt x="194" y="535"/>
                    <a:pt x="193" y="538"/>
                    <a:pt x="192" y="540"/>
                  </a:cubicBezTo>
                  <a:cubicBezTo>
                    <a:pt x="191" y="543"/>
                    <a:pt x="189" y="545"/>
                    <a:pt x="188" y="547"/>
                  </a:cubicBezTo>
                  <a:cubicBezTo>
                    <a:pt x="186" y="550"/>
                    <a:pt x="184" y="554"/>
                    <a:pt x="184" y="558"/>
                  </a:cubicBezTo>
                  <a:cubicBezTo>
                    <a:pt x="184" y="565"/>
                    <a:pt x="183" y="572"/>
                    <a:pt x="182" y="578"/>
                  </a:cubicBezTo>
                  <a:cubicBezTo>
                    <a:pt x="181" y="581"/>
                    <a:pt x="180" y="584"/>
                    <a:pt x="178" y="587"/>
                  </a:cubicBezTo>
                  <a:cubicBezTo>
                    <a:pt x="178" y="588"/>
                    <a:pt x="177" y="589"/>
                    <a:pt x="178" y="590"/>
                  </a:cubicBezTo>
                  <a:cubicBezTo>
                    <a:pt x="178" y="592"/>
                    <a:pt x="178" y="595"/>
                    <a:pt x="178" y="597"/>
                  </a:cubicBezTo>
                  <a:cubicBezTo>
                    <a:pt x="179" y="601"/>
                    <a:pt x="181" y="604"/>
                    <a:pt x="179" y="607"/>
                  </a:cubicBezTo>
                  <a:cubicBezTo>
                    <a:pt x="178" y="612"/>
                    <a:pt x="177" y="615"/>
                    <a:pt x="178" y="621"/>
                  </a:cubicBezTo>
                  <a:cubicBezTo>
                    <a:pt x="178" y="626"/>
                    <a:pt x="182" y="630"/>
                    <a:pt x="183" y="635"/>
                  </a:cubicBezTo>
                  <a:cubicBezTo>
                    <a:pt x="183" y="638"/>
                    <a:pt x="184" y="640"/>
                    <a:pt x="184" y="643"/>
                  </a:cubicBezTo>
                  <a:cubicBezTo>
                    <a:pt x="184" y="644"/>
                    <a:pt x="184" y="647"/>
                    <a:pt x="185" y="648"/>
                  </a:cubicBezTo>
                  <a:cubicBezTo>
                    <a:pt x="186" y="651"/>
                    <a:pt x="188" y="652"/>
                    <a:pt x="188" y="656"/>
                  </a:cubicBezTo>
                  <a:cubicBezTo>
                    <a:pt x="188" y="658"/>
                    <a:pt x="188" y="660"/>
                    <a:pt x="187" y="662"/>
                  </a:cubicBezTo>
                  <a:cubicBezTo>
                    <a:pt x="186" y="664"/>
                    <a:pt x="190" y="669"/>
                    <a:pt x="191" y="671"/>
                  </a:cubicBezTo>
                  <a:cubicBezTo>
                    <a:pt x="191" y="671"/>
                    <a:pt x="191" y="671"/>
                    <a:pt x="192" y="672"/>
                  </a:cubicBezTo>
                  <a:cubicBezTo>
                    <a:pt x="192" y="675"/>
                    <a:pt x="192" y="679"/>
                    <a:pt x="192" y="683"/>
                  </a:cubicBezTo>
                  <a:cubicBezTo>
                    <a:pt x="192" y="685"/>
                    <a:pt x="193" y="686"/>
                    <a:pt x="195" y="687"/>
                  </a:cubicBezTo>
                  <a:cubicBezTo>
                    <a:pt x="199" y="689"/>
                    <a:pt x="201" y="692"/>
                    <a:pt x="204" y="693"/>
                  </a:cubicBezTo>
                  <a:cubicBezTo>
                    <a:pt x="207" y="694"/>
                    <a:pt x="210" y="695"/>
                    <a:pt x="212" y="697"/>
                  </a:cubicBezTo>
                  <a:cubicBezTo>
                    <a:pt x="215" y="700"/>
                    <a:pt x="217" y="702"/>
                    <a:pt x="219" y="705"/>
                  </a:cubicBezTo>
                  <a:cubicBezTo>
                    <a:pt x="222" y="710"/>
                    <a:pt x="220" y="714"/>
                    <a:pt x="221" y="719"/>
                  </a:cubicBezTo>
                  <a:cubicBezTo>
                    <a:pt x="222" y="723"/>
                    <a:pt x="223" y="727"/>
                    <a:pt x="224" y="732"/>
                  </a:cubicBezTo>
                  <a:cubicBezTo>
                    <a:pt x="226" y="736"/>
                    <a:pt x="226" y="741"/>
                    <a:pt x="227" y="745"/>
                  </a:cubicBezTo>
                  <a:cubicBezTo>
                    <a:pt x="228" y="747"/>
                    <a:pt x="229" y="748"/>
                    <a:pt x="230" y="749"/>
                  </a:cubicBezTo>
                  <a:cubicBezTo>
                    <a:pt x="231" y="752"/>
                    <a:pt x="231" y="754"/>
                    <a:pt x="231" y="757"/>
                  </a:cubicBezTo>
                  <a:cubicBezTo>
                    <a:pt x="232" y="760"/>
                    <a:pt x="234" y="762"/>
                    <a:pt x="236" y="765"/>
                  </a:cubicBezTo>
                  <a:cubicBezTo>
                    <a:pt x="239" y="768"/>
                    <a:pt x="241" y="773"/>
                    <a:pt x="243" y="776"/>
                  </a:cubicBezTo>
                  <a:cubicBezTo>
                    <a:pt x="244" y="778"/>
                    <a:pt x="247" y="782"/>
                    <a:pt x="245" y="784"/>
                  </a:cubicBezTo>
                  <a:cubicBezTo>
                    <a:pt x="244" y="785"/>
                    <a:pt x="243" y="786"/>
                    <a:pt x="243" y="787"/>
                  </a:cubicBezTo>
                  <a:cubicBezTo>
                    <a:pt x="241" y="789"/>
                    <a:pt x="238" y="787"/>
                    <a:pt x="237" y="789"/>
                  </a:cubicBezTo>
                  <a:cubicBezTo>
                    <a:pt x="236" y="790"/>
                    <a:pt x="237" y="791"/>
                    <a:pt x="238" y="792"/>
                  </a:cubicBezTo>
                  <a:cubicBezTo>
                    <a:pt x="239" y="794"/>
                    <a:pt x="241" y="796"/>
                    <a:pt x="242" y="798"/>
                  </a:cubicBezTo>
                  <a:cubicBezTo>
                    <a:pt x="242" y="799"/>
                    <a:pt x="242" y="800"/>
                    <a:pt x="243" y="800"/>
                  </a:cubicBezTo>
                  <a:cubicBezTo>
                    <a:pt x="245" y="802"/>
                    <a:pt x="248" y="804"/>
                    <a:pt x="251" y="804"/>
                  </a:cubicBezTo>
                  <a:cubicBezTo>
                    <a:pt x="251" y="805"/>
                    <a:pt x="252" y="805"/>
                    <a:pt x="252" y="805"/>
                  </a:cubicBezTo>
                  <a:cubicBezTo>
                    <a:pt x="253" y="807"/>
                    <a:pt x="254" y="808"/>
                    <a:pt x="255" y="809"/>
                  </a:cubicBezTo>
                  <a:cubicBezTo>
                    <a:pt x="256" y="810"/>
                    <a:pt x="257" y="811"/>
                    <a:pt x="258" y="811"/>
                  </a:cubicBezTo>
                  <a:cubicBezTo>
                    <a:pt x="261" y="817"/>
                    <a:pt x="266" y="822"/>
                    <a:pt x="260" y="828"/>
                  </a:cubicBezTo>
                  <a:cubicBezTo>
                    <a:pt x="259" y="830"/>
                    <a:pt x="259" y="833"/>
                    <a:pt x="261" y="835"/>
                  </a:cubicBezTo>
                  <a:cubicBezTo>
                    <a:pt x="263" y="836"/>
                    <a:pt x="264" y="836"/>
                    <a:pt x="266" y="835"/>
                  </a:cubicBezTo>
                  <a:cubicBezTo>
                    <a:pt x="268" y="835"/>
                    <a:pt x="270" y="841"/>
                    <a:pt x="272" y="842"/>
                  </a:cubicBezTo>
                  <a:cubicBezTo>
                    <a:pt x="274" y="845"/>
                    <a:pt x="277" y="847"/>
                    <a:pt x="278" y="850"/>
                  </a:cubicBezTo>
                  <a:cubicBezTo>
                    <a:pt x="280" y="853"/>
                    <a:pt x="280" y="856"/>
                    <a:pt x="282" y="858"/>
                  </a:cubicBezTo>
                  <a:cubicBezTo>
                    <a:pt x="286" y="863"/>
                    <a:pt x="292" y="853"/>
                    <a:pt x="289" y="849"/>
                  </a:cubicBezTo>
                  <a:cubicBezTo>
                    <a:pt x="287" y="847"/>
                    <a:pt x="285" y="846"/>
                    <a:pt x="284" y="844"/>
                  </a:cubicBezTo>
                  <a:cubicBezTo>
                    <a:pt x="283" y="843"/>
                    <a:pt x="283" y="840"/>
                    <a:pt x="282" y="839"/>
                  </a:cubicBezTo>
                  <a:cubicBezTo>
                    <a:pt x="280" y="838"/>
                    <a:pt x="278" y="839"/>
                    <a:pt x="276" y="837"/>
                  </a:cubicBezTo>
                  <a:cubicBezTo>
                    <a:pt x="276" y="835"/>
                    <a:pt x="276" y="834"/>
                    <a:pt x="276" y="832"/>
                  </a:cubicBezTo>
                  <a:cubicBezTo>
                    <a:pt x="276" y="829"/>
                    <a:pt x="274" y="826"/>
                    <a:pt x="274" y="823"/>
                  </a:cubicBezTo>
                  <a:cubicBezTo>
                    <a:pt x="274" y="821"/>
                    <a:pt x="274" y="819"/>
                    <a:pt x="273" y="816"/>
                  </a:cubicBezTo>
                  <a:cubicBezTo>
                    <a:pt x="272" y="812"/>
                    <a:pt x="273" y="809"/>
                    <a:pt x="272" y="805"/>
                  </a:cubicBezTo>
                  <a:cubicBezTo>
                    <a:pt x="272" y="804"/>
                    <a:pt x="271" y="803"/>
                    <a:pt x="270" y="802"/>
                  </a:cubicBezTo>
                  <a:cubicBezTo>
                    <a:pt x="270" y="802"/>
                    <a:pt x="269" y="803"/>
                    <a:pt x="268" y="803"/>
                  </a:cubicBezTo>
                  <a:cubicBezTo>
                    <a:pt x="267" y="803"/>
                    <a:pt x="266" y="796"/>
                    <a:pt x="266" y="796"/>
                  </a:cubicBezTo>
                  <a:cubicBezTo>
                    <a:pt x="266" y="789"/>
                    <a:pt x="260" y="787"/>
                    <a:pt x="259" y="781"/>
                  </a:cubicBezTo>
                  <a:cubicBezTo>
                    <a:pt x="258" y="779"/>
                    <a:pt x="259" y="776"/>
                    <a:pt x="257" y="774"/>
                  </a:cubicBezTo>
                  <a:cubicBezTo>
                    <a:pt x="256" y="771"/>
                    <a:pt x="252" y="772"/>
                    <a:pt x="251" y="767"/>
                  </a:cubicBezTo>
                  <a:cubicBezTo>
                    <a:pt x="251" y="765"/>
                    <a:pt x="251" y="763"/>
                    <a:pt x="250" y="761"/>
                  </a:cubicBezTo>
                  <a:cubicBezTo>
                    <a:pt x="249" y="759"/>
                    <a:pt x="247" y="756"/>
                    <a:pt x="246" y="754"/>
                  </a:cubicBezTo>
                  <a:cubicBezTo>
                    <a:pt x="245" y="753"/>
                    <a:pt x="248" y="747"/>
                    <a:pt x="248" y="745"/>
                  </a:cubicBezTo>
                  <a:cubicBezTo>
                    <a:pt x="249" y="742"/>
                    <a:pt x="244" y="741"/>
                    <a:pt x="247" y="737"/>
                  </a:cubicBezTo>
                  <a:cubicBezTo>
                    <a:pt x="248" y="735"/>
                    <a:pt x="249" y="734"/>
                    <a:pt x="249" y="732"/>
                  </a:cubicBezTo>
                  <a:cubicBezTo>
                    <a:pt x="250" y="734"/>
                    <a:pt x="251" y="735"/>
                    <a:pt x="252" y="737"/>
                  </a:cubicBezTo>
                  <a:cubicBezTo>
                    <a:pt x="252" y="738"/>
                    <a:pt x="253" y="738"/>
                    <a:pt x="255" y="739"/>
                  </a:cubicBezTo>
                  <a:cubicBezTo>
                    <a:pt x="258" y="739"/>
                    <a:pt x="257" y="741"/>
                    <a:pt x="259" y="743"/>
                  </a:cubicBezTo>
                  <a:cubicBezTo>
                    <a:pt x="259" y="745"/>
                    <a:pt x="259" y="746"/>
                    <a:pt x="260" y="747"/>
                  </a:cubicBezTo>
                  <a:cubicBezTo>
                    <a:pt x="263" y="751"/>
                    <a:pt x="264" y="754"/>
                    <a:pt x="264" y="758"/>
                  </a:cubicBezTo>
                  <a:cubicBezTo>
                    <a:pt x="264" y="761"/>
                    <a:pt x="266" y="763"/>
                    <a:pt x="266" y="766"/>
                  </a:cubicBezTo>
                  <a:cubicBezTo>
                    <a:pt x="267" y="769"/>
                    <a:pt x="268" y="773"/>
                    <a:pt x="269" y="775"/>
                  </a:cubicBezTo>
                  <a:cubicBezTo>
                    <a:pt x="270" y="778"/>
                    <a:pt x="272" y="780"/>
                    <a:pt x="273" y="782"/>
                  </a:cubicBezTo>
                  <a:cubicBezTo>
                    <a:pt x="274" y="784"/>
                    <a:pt x="276" y="786"/>
                    <a:pt x="278" y="787"/>
                  </a:cubicBezTo>
                  <a:cubicBezTo>
                    <a:pt x="282" y="789"/>
                    <a:pt x="281" y="792"/>
                    <a:pt x="281" y="795"/>
                  </a:cubicBezTo>
                  <a:cubicBezTo>
                    <a:pt x="282" y="798"/>
                    <a:pt x="284" y="799"/>
                    <a:pt x="285" y="801"/>
                  </a:cubicBezTo>
                  <a:cubicBezTo>
                    <a:pt x="287" y="803"/>
                    <a:pt x="289" y="805"/>
                    <a:pt x="291" y="807"/>
                  </a:cubicBezTo>
                  <a:cubicBezTo>
                    <a:pt x="292" y="808"/>
                    <a:pt x="294" y="809"/>
                    <a:pt x="295" y="810"/>
                  </a:cubicBezTo>
                  <a:cubicBezTo>
                    <a:pt x="297" y="811"/>
                    <a:pt x="292" y="818"/>
                    <a:pt x="295" y="820"/>
                  </a:cubicBezTo>
                  <a:cubicBezTo>
                    <a:pt x="297" y="823"/>
                    <a:pt x="299" y="825"/>
                    <a:pt x="301" y="827"/>
                  </a:cubicBezTo>
                  <a:cubicBezTo>
                    <a:pt x="302" y="829"/>
                    <a:pt x="303" y="831"/>
                    <a:pt x="304" y="832"/>
                  </a:cubicBezTo>
                  <a:cubicBezTo>
                    <a:pt x="307" y="834"/>
                    <a:pt x="309" y="836"/>
                    <a:pt x="309" y="840"/>
                  </a:cubicBezTo>
                  <a:cubicBezTo>
                    <a:pt x="309" y="840"/>
                    <a:pt x="310" y="841"/>
                    <a:pt x="310" y="841"/>
                  </a:cubicBezTo>
                  <a:cubicBezTo>
                    <a:pt x="312" y="844"/>
                    <a:pt x="315" y="846"/>
                    <a:pt x="317" y="849"/>
                  </a:cubicBezTo>
                  <a:cubicBezTo>
                    <a:pt x="318" y="851"/>
                    <a:pt x="320" y="854"/>
                    <a:pt x="322" y="856"/>
                  </a:cubicBezTo>
                  <a:cubicBezTo>
                    <a:pt x="325" y="859"/>
                    <a:pt x="326" y="862"/>
                    <a:pt x="327" y="865"/>
                  </a:cubicBezTo>
                  <a:cubicBezTo>
                    <a:pt x="328" y="869"/>
                    <a:pt x="330" y="871"/>
                    <a:pt x="330" y="875"/>
                  </a:cubicBezTo>
                  <a:cubicBezTo>
                    <a:pt x="330" y="878"/>
                    <a:pt x="332" y="881"/>
                    <a:pt x="333" y="884"/>
                  </a:cubicBezTo>
                  <a:cubicBezTo>
                    <a:pt x="334" y="887"/>
                    <a:pt x="331" y="888"/>
                    <a:pt x="330" y="890"/>
                  </a:cubicBezTo>
                  <a:cubicBezTo>
                    <a:pt x="330" y="892"/>
                    <a:pt x="330" y="894"/>
                    <a:pt x="329" y="896"/>
                  </a:cubicBezTo>
                  <a:cubicBezTo>
                    <a:pt x="327" y="900"/>
                    <a:pt x="333" y="907"/>
                    <a:pt x="335" y="910"/>
                  </a:cubicBezTo>
                  <a:cubicBezTo>
                    <a:pt x="336" y="911"/>
                    <a:pt x="337" y="914"/>
                    <a:pt x="338" y="914"/>
                  </a:cubicBezTo>
                  <a:cubicBezTo>
                    <a:pt x="341" y="915"/>
                    <a:pt x="343" y="917"/>
                    <a:pt x="345" y="919"/>
                  </a:cubicBezTo>
                  <a:cubicBezTo>
                    <a:pt x="348" y="921"/>
                    <a:pt x="350" y="924"/>
                    <a:pt x="352" y="927"/>
                  </a:cubicBezTo>
                  <a:cubicBezTo>
                    <a:pt x="353" y="929"/>
                    <a:pt x="354" y="930"/>
                    <a:pt x="357" y="930"/>
                  </a:cubicBezTo>
                  <a:cubicBezTo>
                    <a:pt x="359" y="931"/>
                    <a:pt x="362" y="930"/>
                    <a:pt x="365" y="931"/>
                  </a:cubicBezTo>
                  <a:cubicBezTo>
                    <a:pt x="367" y="931"/>
                    <a:pt x="370" y="932"/>
                    <a:pt x="372" y="933"/>
                  </a:cubicBezTo>
                  <a:cubicBezTo>
                    <a:pt x="373" y="934"/>
                    <a:pt x="373" y="935"/>
                    <a:pt x="373" y="936"/>
                  </a:cubicBezTo>
                  <a:cubicBezTo>
                    <a:pt x="374" y="936"/>
                    <a:pt x="374" y="937"/>
                    <a:pt x="375" y="937"/>
                  </a:cubicBezTo>
                  <a:cubicBezTo>
                    <a:pt x="376" y="938"/>
                    <a:pt x="376" y="938"/>
                    <a:pt x="377" y="938"/>
                  </a:cubicBezTo>
                  <a:cubicBezTo>
                    <a:pt x="381" y="939"/>
                    <a:pt x="382" y="940"/>
                    <a:pt x="384" y="942"/>
                  </a:cubicBezTo>
                  <a:cubicBezTo>
                    <a:pt x="388" y="945"/>
                    <a:pt x="392" y="944"/>
                    <a:pt x="397" y="946"/>
                  </a:cubicBezTo>
                  <a:cubicBezTo>
                    <a:pt x="400" y="948"/>
                    <a:pt x="402" y="951"/>
                    <a:pt x="406" y="953"/>
                  </a:cubicBezTo>
                  <a:cubicBezTo>
                    <a:pt x="410" y="954"/>
                    <a:pt x="414" y="956"/>
                    <a:pt x="418" y="957"/>
                  </a:cubicBezTo>
                  <a:cubicBezTo>
                    <a:pt x="422" y="959"/>
                    <a:pt x="427" y="961"/>
                    <a:pt x="431" y="961"/>
                  </a:cubicBezTo>
                  <a:cubicBezTo>
                    <a:pt x="436" y="961"/>
                    <a:pt x="440" y="962"/>
                    <a:pt x="444" y="960"/>
                  </a:cubicBezTo>
                  <a:cubicBezTo>
                    <a:pt x="446" y="959"/>
                    <a:pt x="448" y="959"/>
                    <a:pt x="450" y="959"/>
                  </a:cubicBezTo>
                  <a:cubicBezTo>
                    <a:pt x="451" y="958"/>
                    <a:pt x="456" y="956"/>
                    <a:pt x="457" y="957"/>
                  </a:cubicBezTo>
                  <a:cubicBezTo>
                    <a:pt x="460" y="960"/>
                    <a:pt x="465" y="959"/>
                    <a:pt x="469" y="962"/>
                  </a:cubicBezTo>
                  <a:cubicBezTo>
                    <a:pt x="472" y="965"/>
                    <a:pt x="474" y="970"/>
                    <a:pt x="478" y="973"/>
                  </a:cubicBezTo>
                  <a:cubicBezTo>
                    <a:pt x="484" y="977"/>
                    <a:pt x="488" y="984"/>
                    <a:pt x="495" y="988"/>
                  </a:cubicBezTo>
                  <a:cubicBezTo>
                    <a:pt x="496" y="988"/>
                    <a:pt x="497" y="988"/>
                    <a:pt x="498" y="988"/>
                  </a:cubicBezTo>
                  <a:cubicBezTo>
                    <a:pt x="502" y="989"/>
                    <a:pt x="505" y="989"/>
                    <a:pt x="509" y="990"/>
                  </a:cubicBezTo>
                  <a:cubicBezTo>
                    <a:pt x="512" y="991"/>
                    <a:pt x="514" y="992"/>
                    <a:pt x="517" y="993"/>
                  </a:cubicBezTo>
                  <a:cubicBezTo>
                    <a:pt x="519" y="994"/>
                    <a:pt x="522" y="994"/>
                    <a:pt x="524" y="995"/>
                  </a:cubicBezTo>
                  <a:cubicBezTo>
                    <a:pt x="528" y="996"/>
                    <a:pt x="532" y="998"/>
                    <a:pt x="536" y="999"/>
                  </a:cubicBezTo>
                  <a:cubicBezTo>
                    <a:pt x="538" y="999"/>
                    <a:pt x="540" y="999"/>
                    <a:pt x="542" y="998"/>
                  </a:cubicBezTo>
                  <a:cubicBezTo>
                    <a:pt x="541" y="999"/>
                    <a:pt x="541" y="1000"/>
                    <a:pt x="541" y="1001"/>
                  </a:cubicBezTo>
                  <a:cubicBezTo>
                    <a:pt x="542" y="1002"/>
                    <a:pt x="543" y="1004"/>
                    <a:pt x="545" y="1005"/>
                  </a:cubicBezTo>
                  <a:cubicBezTo>
                    <a:pt x="547" y="1006"/>
                    <a:pt x="549" y="1009"/>
                    <a:pt x="551" y="1012"/>
                  </a:cubicBezTo>
                  <a:cubicBezTo>
                    <a:pt x="554" y="1015"/>
                    <a:pt x="562" y="1018"/>
                    <a:pt x="563" y="1022"/>
                  </a:cubicBezTo>
                  <a:cubicBezTo>
                    <a:pt x="564" y="1026"/>
                    <a:pt x="562" y="1029"/>
                    <a:pt x="562" y="1033"/>
                  </a:cubicBezTo>
                  <a:cubicBezTo>
                    <a:pt x="562" y="1037"/>
                    <a:pt x="575" y="1046"/>
                    <a:pt x="576" y="1040"/>
                  </a:cubicBezTo>
                  <a:cubicBezTo>
                    <a:pt x="577" y="1037"/>
                    <a:pt x="576" y="1037"/>
                    <a:pt x="575" y="1035"/>
                  </a:cubicBezTo>
                  <a:cubicBezTo>
                    <a:pt x="574" y="1031"/>
                    <a:pt x="577" y="1038"/>
                    <a:pt x="578" y="1038"/>
                  </a:cubicBezTo>
                  <a:cubicBezTo>
                    <a:pt x="579" y="1040"/>
                    <a:pt x="581" y="1042"/>
                    <a:pt x="582" y="1043"/>
                  </a:cubicBezTo>
                  <a:cubicBezTo>
                    <a:pt x="585" y="1045"/>
                    <a:pt x="589" y="1046"/>
                    <a:pt x="588" y="1050"/>
                  </a:cubicBezTo>
                  <a:cubicBezTo>
                    <a:pt x="586" y="1054"/>
                    <a:pt x="590" y="1056"/>
                    <a:pt x="593" y="1058"/>
                  </a:cubicBezTo>
                  <a:cubicBezTo>
                    <a:pt x="594" y="1058"/>
                    <a:pt x="595" y="1058"/>
                    <a:pt x="595" y="1057"/>
                  </a:cubicBezTo>
                  <a:cubicBezTo>
                    <a:pt x="596" y="1056"/>
                    <a:pt x="596" y="1056"/>
                    <a:pt x="597" y="1055"/>
                  </a:cubicBezTo>
                  <a:cubicBezTo>
                    <a:pt x="599" y="1052"/>
                    <a:pt x="600" y="1057"/>
                    <a:pt x="601" y="1058"/>
                  </a:cubicBezTo>
                  <a:cubicBezTo>
                    <a:pt x="602" y="1061"/>
                    <a:pt x="610" y="1058"/>
                    <a:pt x="613" y="1059"/>
                  </a:cubicBezTo>
                  <a:cubicBezTo>
                    <a:pt x="615" y="1060"/>
                    <a:pt x="616" y="1061"/>
                    <a:pt x="617" y="1063"/>
                  </a:cubicBezTo>
                  <a:cubicBezTo>
                    <a:pt x="617" y="1064"/>
                    <a:pt x="617" y="1064"/>
                    <a:pt x="617" y="1065"/>
                  </a:cubicBezTo>
                  <a:cubicBezTo>
                    <a:pt x="618" y="1066"/>
                    <a:pt x="618" y="1066"/>
                    <a:pt x="620" y="1066"/>
                  </a:cubicBezTo>
                  <a:cubicBezTo>
                    <a:pt x="621" y="1065"/>
                    <a:pt x="622" y="1062"/>
                    <a:pt x="623" y="1065"/>
                  </a:cubicBezTo>
                  <a:cubicBezTo>
                    <a:pt x="623" y="1066"/>
                    <a:pt x="624" y="1069"/>
                    <a:pt x="625" y="1069"/>
                  </a:cubicBezTo>
                  <a:cubicBezTo>
                    <a:pt x="626" y="1070"/>
                    <a:pt x="628" y="1069"/>
                    <a:pt x="629" y="1069"/>
                  </a:cubicBezTo>
                  <a:cubicBezTo>
                    <a:pt x="631" y="1068"/>
                    <a:pt x="634" y="1068"/>
                    <a:pt x="636" y="1067"/>
                  </a:cubicBezTo>
                  <a:cubicBezTo>
                    <a:pt x="639" y="1065"/>
                    <a:pt x="637" y="1062"/>
                    <a:pt x="635" y="1061"/>
                  </a:cubicBezTo>
                  <a:cubicBezTo>
                    <a:pt x="631" y="1057"/>
                    <a:pt x="637" y="1058"/>
                    <a:pt x="638" y="1057"/>
                  </a:cubicBezTo>
                  <a:cubicBezTo>
                    <a:pt x="640" y="1056"/>
                    <a:pt x="641" y="1054"/>
                    <a:pt x="642" y="1052"/>
                  </a:cubicBezTo>
                  <a:cubicBezTo>
                    <a:pt x="642" y="1052"/>
                    <a:pt x="642" y="1051"/>
                    <a:pt x="642" y="1050"/>
                  </a:cubicBezTo>
                  <a:cubicBezTo>
                    <a:pt x="641" y="1047"/>
                    <a:pt x="648" y="1049"/>
                    <a:pt x="648" y="1050"/>
                  </a:cubicBezTo>
                  <a:cubicBezTo>
                    <a:pt x="649" y="1051"/>
                    <a:pt x="650" y="1052"/>
                    <a:pt x="651" y="1052"/>
                  </a:cubicBezTo>
                  <a:cubicBezTo>
                    <a:pt x="652" y="1053"/>
                    <a:pt x="653" y="1054"/>
                    <a:pt x="654" y="1054"/>
                  </a:cubicBezTo>
                  <a:cubicBezTo>
                    <a:pt x="655" y="1055"/>
                    <a:pt x="659" y="1054"/>
                    <a:pt x="657" y="1057"/>
                  </a:cubicBezTo>
                  <a:cubicBezTo>
                    <a:pt x="657" y="1058"/>
                    <a:pt x="655" y="1060"/>
                    <a:pt x="655" y="1061"/>
                  </a:cubicBezTo>
                  <a:cubicBezTo>
                    <a:pt x="657" y="1064"/>
                    <a:pt x="657" y="1067"/>
                    <a:pt x="659" y="1069"/>
                  </a:cubicBezTo>
                  <a:cubicBezTo>
                    <a:pt x="660" y="1071"/>
                    <a:pt x="661" y="1073"/>
                    <a:pt x="662" y="1075"/>
                  </a:cubicBezTo>
                  <a:cubicBezTo>
                    <a:pt x="664" y="1078"/>
                    <a:pt x="667" y="1076"/>
                    <a:pt x="669" y="1079"/>
                  </a:cubicBezTo>
                  <a:cubicBezTo>
                    <a:pt x="668" y="1080"/>
                    <a:pt x="667" y="1080"/>
                    <a:pt x="667" y="1081"/>
                  </a:cubicBezTo>
                  <a:cubicBezTo>
                    <a:pt x="664" y="1082"/>
                    <a:pt x="667" y="1088"/>
                    <a:pt x="666" y="1090"/>
                  </a:cubicBezTo>
                  <a:cubicBezTo>
                    <a:pt x="664" y="1094"/>
                    <a:pt x="666" y="1098"/>
                    <a:pt x="665" y="1103"/>
                  </a:cubicBezTo>
                  <a:cubicBezTo>
                    <a:pt x="665" y="1105"/>
                    <a:pt x="665" y="1108"/>
                    <a:pt x="667" y="1109"/>
                  </a:cubicBezTo>
                  <a:cubicBezTo>
                    <a:pt x="673" y="1112"/>
                    <a:pt x="662" y="1116"/>
                    <a:pt x="661" y="1119"/>
                  </a:cubicBezTo>
                  <a:cubicBezTo>
                    <a:pt x="658" y="1123"/>
                    <a:pt x="655" y="1127"/>
                    <a:pt x="652" y="1131"/>
                  </a:cubicBezTo>
                  <a:cubicBezTo>
                    <a:pt x="650" y="1134"/>
                    <a:pt x="648" y="1137"/>
                    <a:pt x="645" y="1139"/>
                  </a:cubicBezTo>
                  <a:cubicBezTo>
                    <a:pt x="645" y="1139"/>
                    <a:pt x="644" y="1140"/>
                    <a:pt x="644" y="1141"/>
                  </a:cubicBezTo>
                  <a:cubicBezTo>
                    <a:pt x="642" y="1143"/>
                    <a:pt x="638" y="1143"/>
                    <a:pt x="636" y="1143"/>
                  </a:cubicBezTo>
                  <a:cubicBezTo>
                    <a:pt x="632" y="1144"/>
                    <a:pt x="627" y="1148"/>
                    <a:pt x="631" y="1152"/>
                  </a:cubicBezTo>
                  <a:cubicBezTo>
                    <a:pt x="635" y="1156"/>
                    <a:pt x="627" y="1160"/>
                    <a:pt x="628" y="1164"/>
                  </a:cubicBezTo>
                  <a:cubicBezTo>
                    <a:pt x="628" y="1166"/>
                    <a:pt x="626" y="1168"/>
                    <a:pt x="624" y="1170"/>
                  </a:cubicBezTo>
                  <a:cubicBezTo>
                    <a:pt x="623" y="1170"/>
                    <a:pt x="623" y="1171"/>
                    <a:pt x="623" y="1172"/>
                  </a:cubicBezTo>
                  <a:cubicBezTo>
                    <a:pt x="623" y="1174"/>
                    <a:pt x="624" y="1175"/>
                    <a:pt x="624" y="1177"/>
                  </a:cubicBezTo>
                  <a:cubicBezTo>
                    <a:pt x="624" y="1180"/>
                    <a:pt x="623" y="1182"/>
                    <a:pt x="623" y="1184"/>
                  </a:cubicBezTo>
                  <a:cubicBezTo>
                    <a:pt x="623" y="1185"/>
                    <a:pt x="627" y="1188"/>
                    <a:pt x="628" y="1189"/>
                  </a:cubicBezTo>
                  <a:cubicBezTo>
                    <a:pt x="630" y="1190"/>
                    <a:pt x="632" y="1189"/>
                    <a:pt x="633" y="1187"/>
                  </a:cubicBezTo>
                  <a:cubicBezTo>
                    <a:pt x="634" y="1185"/>
                    <a:pt x="636" y="1183"/>
                    <a:pt x="637" y="1182"/>
                  </a:cubicBezTo>
                  <a:cubicBezTo>
                    <a:pt x="637" y="1183"/>
                    <a:pt x="637" y="1184"/>
                    <a:pt x="637" y="1184"/>
                  </a:cubicBezTo>
                  <a:cubicBezTo>
                    <a:pt x="637" y="1186"/>
                    <a:pt x="637" y="1186"/>
                    <a:pt x="637" y="1188"/>
                  </a:cubicBezTo>
                  <a:cubicBezTo>
                    <a:pt x="639" y="1191"/>
                    <a:pt x="637" y="1193"/>
                    <a:pt x="635" y="1195"/>
                  </a:cubicBezTo>
                  <a:cubicBezTo>
                    <a:pt x="632" y="1198"/>
                    <a:pt x="628" y="1200"/>
                    <a:pt x="625" y="1202"/>
                  </a:cubicBezTo>
                  <a:cubicBezTo>
                    <a:pt x="623" y="1203"/>
                    <a:pt x="621" y="1204"/>
                    <a:pt x="619" y="1205"/>
                  </a:cubicBezTo>
                  <a:cubicBezTo>
                    <a:pt x="616" y="1208"/>
                    <a:pt x="615" y="1211"/>
                    <a:pt x="618" y="1214"/>
                  </a:cubicBezTo>
                  <a:cubicBezTo>
                    <a:pt x="619" y="1215"/>
                    <a:pt x="623" y="1222"/>
                    <a:pt x="622" y="1224"/>
                  </a:cubicBezTo>
                  <a:cubicBezTo>
                    <a:pt x="620" y="1226"/>
                    <a:pt x="619" y="1226"/>
                    <a:pt x="619" y="1228"/>
                  </a:cubicBezTo>
                  <a:cubicBezTo>
                    <a:pt x="620" y="1231"/>
                    <a:pt x="626" y="1233"/>
                    <a:pt x="628" y="1233"/>
                  </a:cubicBezTo>
                  <a:cubicBezTo>
                    <a:pt x="631" y="1234"/>
                    <a:pt x="634" y="1233"/>
                    <a:pt x="637" y="1236"/>
                  </a:cubicBezTo>
                  <a:cubicBezTo>
                    <a:pt x="639" y="1237"/>
                    <a:pt x="639" y="1240"/>
                    <a:pt x="641" y="1242"/>
                  </a:cubicBezTo>
                  <a:cubicBezTo>
                    <a:pt x="643" y="1244"/>
                    <a:pt x="645" y="1245"/>
                    <a:pt x="647" y="1247"/>
                  </a:cubicBezTo>
                  <a:cubicBezTo>
                    <a:pt x="651" y="1249"/>
                    <a:pt x="651" y="1254"/>
                    <a:pt x="653" y="1258"/>
                  </a:cubicBezTo>
                  <a:cubicBezTo>
                    <a:pt x="654" y="1261"/>
                    <a:pt x="655" y="1263"/>
                    <a:pt x="657" y="1265"/>
                  </a:cubicBezTo>
                  <a:cubicBezTo>
                    <a:pt x="659" y="1268"/>
                    <a:pt x="659" y="1270"/>
                    <a:pt x="660" y="1273"/>
                  </a:cubicBezTo>
                  <a:cubicBezTo>
                    <a:pt x="661" y="1275"/>
                    <a:pt x="662" y="1276"/>
                    <a:pt x="663" y="1277"/>
                  </a:cubicBezTo>
                  <a:cubicBezTo>
                    <a:pt x="666" y="1281"/>
                    <a:pt x="669" y="1283"/>
                    <a:pt x="670" y="1287"/>
                  </a:cubicBezTo>
                  <a:cubicBezTo>
                    <a:pt x="672" y="1292"/>
                    <a:pt x="678" y="1295"/>
                    <a:pt x="680" y="1300"/>
                  </a:cubicBezTo>
                  <a:cubicBezTo>
                    <a:pt x="682" y="1305"/>
                    <a:pt x="681" y="1309"/>
                    <a:pt x="686" y="1313"/>
                  </a:cubicBezTo>
                  <a:cubicBezTo>
                    <a:pt x="688" y="1315"/>
                    <a:pt x="690" y="1317"/>
                    <a:pt x="692" y="1319"/>
                  </a:cubicBezTo>
                  <a:cubicBezTo>
                    <a:pt x="694" y="1321"/>
                    <a:pt x="695" y="1323"/>
                    <a:pt x="697" y="1324"/>
                  </a:cubicBezTo>
                  <a:cubicBezTo>
                    <a:pt x="700" y="1325"/>
                    <a:pt x="702" y="1326"/>
                    <a:pt x="705" y="1326"/>
                  </a:cubicBezTo>
                  <a:cubicBezTo>
                    <a:pt x="709" y="1326"/>
                    <a:pt x="711" y="1327"/>
                    <a:pt x="714" y="1330"/>
                  </a:cubicBezTo>
                  <a:cubicBezTo>
                    <a:pt x="719" y="1334"/>
                    <a:pt x="724" y="1335"/>
                    <a:pt x="730" y="1337"/>
                  </a:cubicBezTo>
                  <a:cubicBezTo>
                    <a:pt x="735" y="1340"/>
                    <a:pt x="740" y="1343"/>
                    <a:pt x="746" y="1346"/>
                  </a:cubicBezTo>
                  <a:cubicBezTo>
                    <a:pt x="747" y="1347"/>
                    <a:pt x="749" y="1348"/>
                    <a:pt x="751" y="1349"/>
                  </a:cubicBezTo>
                  <a:cubicBezTo>
                    <a:pt x="751" y="1352"/>
                    <a:pt x="751" y="1354"/>
                    <a:pt x="752" y="1357"/>
                  </a:cubicBezTo>
                  <a:cubicBezTo>
                    <a:pt x="753" y="1359"/>
                    <a:pt x="753" y="1362"/>
                    <a:pt x="753" y="1365"/>
                  </a:cubicBezTo>
                  <a:cubicBezTo>
                    <a:pt x="754" y="1367"/>
                    <a:pt x="753" y="1370"/>
                    <a:pt x="754" y="1372"/>
                  </a:cubicBezTo>
                  <a:cubicBezTo>
                    <a:pt x="754" y="1375"/>
                    <a:pt x="755" y="1378"/>
                    <a:pt x="755" y="1382"/>
                  </a:cubicBezTo>
                  <a:cubicBezTo>
                    <a:pt x="755" y="1385"/>
                    <a:pt x="753" y="1388"/>
                    <a:pt x="753" y="1391"/>
                  </a:cubicBezTo>
                  <a:cubicBezTo>
                    <a:pt x="752" y="1393"/>
                    <a:pt x="753" y="1395"/>
                    <a:pt x="753" y="1397"/>
                  </a:cubicBezTo>
                  <a:cubicBezTo>
                    <a:pt x="754" y="1401"/>
                    <a:pt x="753" y="1404"/>
                    <a:pt x="753" y="1407"/>
                  </a:cubicBezTo>
                  <a:cubicBezTo>
                    <a:pt x="753" y="1410"/>
                    <a:pt x="753" y="1412"/>
                    <a:pt x="753" y="1415"/>
                  </a:cubicBezTo>
                  <a:cubicBezTo>
                    <a:pt x="754" y="1417"/>
                    <a:pt x="752" y="1419"/>
                    <a:pt x="752" y="1422"/>
                  </a:cubicBezTo>
                  <a:cubicBezTo>
                    <a:pt x="752" y="1424"/>
                    <a:pt x="751" y="1425"/>
                    <a:pt x="751" y="1428"/>
                  </a:cubicBezTo>
                  <a:cubicBezTo>
                    <a:pt x="751" y="1430"/>
                    <a:pt x="751" y="1432"/>
                    <a:pt x="750" y="1434"/>
                  </a:cubicBezTo>
                  <a:cubicBezTo>
                    <a:pt x="749" y="1439"/>
                    <a:pt x="747" y="1442"/>
                    <a:pt x="746" y="1447"/>
                  </a:cubicBezTo>
                  <a:cubicBezTo>
                    <a:pt x="746" y="1449"/>
                    <a:pt x="748" y="1452"/>
                    <a:pt x="748" y="1453"/>
                  </a:cubicBezTo>
                  <a:cubicBezTo>
                    <a:pt x="748" y="1453"/>
                    <a:pt x="746" y="1458"/>
                    <a:pt x="746" y="1458"/>
                  </a:cubicBezTo>
                  <a:cubicBezTo>
                    <a:pt x="745" y="1462"/>
                    <a:pt x="747" y="1467"/>
                    <a:pt x="748" y="1471"/>
                  </a:cubicBezTo>
                  <a:cubicBezTo>
                    <a:pt x="749" y="1474"/>
                    <a:pt x="748" y="1477"/>
                    <a:pt x="747" y="1481"/>
                  </a:cubicBezTo>
                  <a:cubicBezTo>
                    <a:pt x="747" y="1483"/>
                    <a:pt x="749" y="1484"/>
                    <a:pt x="746" y="1486"/>
                  </a:cubicBezTo>
                  <a:cubicBezTo>
                    <a:pt x="743" y="1489"/>
                    <a:pt x="742" y="1495"/>
                    <a:pt x="741" y="1498"/>
                  </a:cubicBezTo>
                  <a:cubicBezTo>
                    <a:pt x="741" y="1502"/>
                    <a:pt x="740" y="1505"/>
                    <a:pt x="738" y="1508"/>
                  </a:cubicBezTo>
                  <a:cubicBezTo>
                    <a:pt x="738" y="1510"/>
                    <a:pt x="736" y="1510"/>
                    <a:pt x="735" y="1512"/>
                  </a:cubicBezTo>
                  <a:cubicBezTo>
                    <a:pt x="733" y="1514"/>
                    <a:pt x="732" y="1517"/>
                    <a:pt x="733" y="1519"/>
                  </a:cubicBezTo>
                  <a:cubicBezTo>
                    <a:pt x="734" y="1521"/>
                    <a:pt x="736" y="1521"/>
                    <a:pt x="737" y="1524"/>
                  </a:cubicBezTo>
                  <a:cubicBezTo>
                    <a:pt x="738" y="1527"/>
                    <a:pt x="737" y="1529"/>
                    <a:pt x="736" y="1531"/>
                  </a:cubicBezTo>
                  <a:cubicBezTo>
                    <a:pt x="734" y="1537"/>
                    <a:pt x="742" y="1538"/>
                    <a:pt x="748" y="1539"/>
                  </a:cubicBezTo>
                  <a:cubicBezTo>
                    <a:pt x="748" y="1541"/>
                    <a:pt x="746" y="1542"/>
                    <a:pt x="746" y="1544"/>
                  </a:cubicBezTo>
                  <a:cubicBezTo>
                    <a:pt x="744" y="1546"/>
                    <a:pt x="745" y="1549"/>
                    <a:pt x="745" y="1552"/>
                  </a:cubicBezTo>
                  <a:cubicBezTo>
                    <a:pt x="746" y="1556"/>
                    <a:pt x="744" y="1555"/>
                    <a:pt x="744" y="1558"/>
                  </a:cubicBezTo>
                  <a:cubicBezTo>
                    <a:pt x="743" y="1561"/>
                    <a:pt x="741" y="1561"/>
                    <a:pt x="738" y="1561"/>
                  </a:cubicBezTo>
                  <a:cubicBezTo>
                    <a:pt x="736" y="1560"/>
                    <a:pt x="734" y="1560"/>
                    <a:pt x="732" y="1562"/>
                  </a:cubicBezTo>
                  <a:cubicBezTo>
                    <a:pt x="730" y="1565"/>
                    <a:pt x="731" y="1567"/>
                    <a:pt x="735" y="1568"/>
                  </a:cubicBezTo>
                  <a:cubicBezTo>
                    <a:pt x="738" y="1568"/>
                    <a:pt x="736" y="1571"/>
                    <a:pt x="736" y="1573"/>
                  </a:cubicBezTo>
                  <a:cubicBezTo>
                    <a:pt x="737" y="1575"/>
                    <a:pt x="739" y="1577"/>
                    <a:pt x="741" y="1578"/>
                  </a:cubicBezTo>
                  <a:cubicBezTo>
                    <a:pt x="743" y="1580"/>
                    <a:pt x="745" y="1582"/>
                    <a:pt x="747" y="1583"/>
                  </a:cubicBezTo>
                  <a:cubicBezTo>
                    <a:pt x="750" y="1585"/>
                    <a:pt x="754" y="1584"/>
                    <a:pt x="756" y="1584"/>
                  </a:cubicBezTo>
                  <a:cubicBezTo>
                    <a:pt x="760" y="1584"/>
                    <a:pt x="763" y="1586"/>
                    <a:pt x="767" y="1586"/>
                  </a:cubicBezTo>
                  <a:cubicBezTo>
                    <a:pt x="769" y="1586"/>
                    <a:pt x="772" y="1585"/>
                    <a:pt x="775" y="1585"/>
                  </a:cubicBezTo>
                  <a:cubicBezTo>
                    <a:pt x="777" y="1585"/>
                    <a:pt x="778" y="1586"/>
                    <a:pt x="780" y="1586"/>
                  </a:cubicBezTo>
                  <a:cubicBezTo>
                    <a:pt x="784" y="1586"/>
                    <a:pt x="789" y="1585"/>
                    <a:pt x="793" y="1584"/>
                  </a:cubicBezTo>
                  <a:cubicBezTo>
                    <a:pt x="794" y="1584"/>
                    <a:pt x="795" y="1584"/>
                    <a:pt x="795" y="1584"/>
                  </a:cubicBezTo>
                  <a:cubicBezTo>
                    <a:pt x="801" y="1583"/>
                    <a:pt x="806" y="1582"/>
                    <a:pt x="811" y="1581"/>
                  </a:cubicBezTo>
                  <a:cubicBezTo>
                    <a:pt x="813" y="1580"/>
                    <a:pt x="814" y="1580"/>
                    <a:pt x="815" y="1579"/>
                  </a:cubicBezTo>
                  <a:close/>
                  <a:moveTo>
                    <a:pt x="1201" y="208"/>
                  </a:moveTo>
                  <a:cubicBezTo>
                    <a:pt x="1201" y="208"/>
                    <a:pt x="1201" y="208"/>
                    <a:pt x="1201" y="208"/>
                  </a:cubicBezTo>
                  <a:cubicBezTo>
                    <a:pt x="1201" y="208"/>
                    <a:pt x="1200" y="208"/>
                    <a:pt x="1200" y="208"/>
                  </a:cubicBezTo>
                  <a:cubicBezTo>
                    <a:pt x="1200" y="209"/>
                    <a:pt x="1200" y="210"/>
                    <a:pt x="1200" y="211"/>
                  </a:cubicBezTo>
                  <a:cubicBezTo>
                    <a:pt x="1201" y="212"/>
                    <a:pt x="1202" y="212"/>
                    <a:pt x="1202" y="213"/>
                  </a:cubicBezTo>
                  <a:cubicBezTo>
                    <a:pt x="1203" y="213"/>
                    <a:pt x="1203" y="213"/>
                    <a:pt x="1204" y="213"/>
                  </a:cubicBezTo>
                  <a:cubicBezTo>
                    <a:pt x="1205" y="213"/>
                    <a:pt x="1205" y="214"/>
                    <a:pt x="1206" y="215"/>
                  </a:cubicBezTo>
                  <a:cubicBezTo>
                    <a:pt x="1206" y="216"/>
                    <a:pt x="1207" y="217"/>
                    <a:pt x="1207" y="217"/>
                  </a:cubicBezTo>
                  <a:cubicBezTo>
                    <a:pt x="1208" y="217"/>
                    <a:pt x="1209" y="216"/>
                    <a:pt x="1209" y="216"/>
                  </a:cubicBezTo>
                  <a:cubicBezTo>
                    <a:pt x="1209" y="215"/>
                    <a:pt x="1208" y="214"/>
                    <a:pt x="1207" y="213"/>
                  </a:cubicBezTo>
                  <a:cubicBezTo>
                    <a:pt x="1206" y="212"/>
                    <a:pt x="1206" y="212"/>
                    <a:pt x="1204" y="211"/>
                  </a:cubicBezTo>
                  <a:cubicBezTo>
                    <a:pt x="1203" y="211"/>
                    <a:pt x="1202" y="210"/>
                    <a:pt x="1201" y="208"/>
                  </a:cubicBezTo>
                  <a:cubicBezTo>
                    <a:pt x="1201" y="208"/>
                    <a:pt x="1201" y="208"/>
                    <a:pt x="1201" y="208"/>
                  </a:cubicBezTo>
                  <a:close/>
                  <a:moveTo>
                    <a:pt x="215" y="294"/>
                  </a:moveTo>
                  <a:cubicBezTo>
                    <a:pt x="213" y="293"/>
                    <a:pt x="212" y="295"/>
                    <a:pt x="211" y="296"/>
                  </a:cubicBezTo>
                  <a:cubicBezTo>
                    <a:pt x="211" y="297"/>
                    <a:pt x="211" y="298"/>
                    <a:pt x="210" y="299"/>
                  </a:cubicBezTo>
                  <a:cubicBezTo>
                    <a:pt x="210" y="300"/>
                    <a:pt x="210" y="300"/>
                    <a:pt x="210" y="301"/>
                  </a:cubicBezTo>
                  <a:cubicBezTo>
                    <a:pt x="208" y="302"/>
                    <a:pt x="207" y="305"/>
                    <a:pt x="208" y="306"/>
                  </a:cubicBezTo>
                  <a:cubicBezTo>
                    <a:pt x="209" y="307"/>
                    <a:pt x="210" y="306"/>
                    <a:pt x="211" y="305"/>
                  </a:cubicBezTo>
                  <a:cubicBezTo>
                    <a:pt x="212" y="304"/>
                    <a:pt x="212" y="303"/>
                    <a:pt x="212" y="303"/>
                  </a:cubicBezTo>
                  <a:cubicBezTo>
                    <a:pt x="213" y="302"/>
                    <a:pt x="214" y="301"/>
                    <a:pt x="216" y="300"/>
                  </a:cubicBezTo>
                  <a:cubicBezTo>
                    <a:pt x="218" y="299"/>
                    <a:pt x="217" y="294"/>
                    <a:pt x="215" y="294"/>
                  </a:cubicBezTo>
                  <a:close/>
                  <a:moveTo>
                    <a:pt x="97" y="301"/>
                  </a:moveTo>
                  <a:cubicBezTo>
                    <a:pt x="97" y="297"/>
                    <a:pt x="100" y="295"/>
                    <a:pt x="102" y="293"/>
                  </a:cubicBezTo>
                  <a:cubicBezTo>
                    <a:pt x="104" y="291"/>
                    <a:pt x="104" y="290"/>
                    <a:pt x="104" y="288"/>
                  </a:cubicBezTo>
                  <a:cubicBezTo>
                    <a:pt x="103" y="287"/>
                    <a:pt x="102" y="287"/>
                    <a:pt x="102" y="288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99" y="290"/>
                    <a:pt x="89" y="304"/>
                    <a:pt x="87" y="303"/>
                  </a:cubicBezTo>
                  <a:cubicBezTo>
                    <a:pt x="87" y="303"/>
                    <a:pt x="87" y="303"/>
                    <a:pt x="86" y="303"/>
                  </a:cubicBezTo>
                  <a:cubicBezTo>
                    <a:pt x="82" y="306"/>
                    <a:pt x="70" y="315"/>
                    <a:pt x="75" y="322"/>
                  </a:cubicBezTo>
                  <a:cubicBezTo>
                    <a:pt x="75" y="322"/>
                    <a:pt x="76" y="322"/>
                    <a:pt x="76" y="322"/>
                  </a:cubicBezTo>
                  <a:cubicBezTo>
                    <a:pt x="81" y="319"/>
                    <a:pt x="83" y="312"/>
                    <a:pt x="88" y="310"/>
                  </a:cubicBezTo>
                  <a:cubicBezTo>
                    <a:pt x="91" y="309"/>
                    <a:pt x="93" y="306"/>
                    <a:pt x="96" y="304"/>
                  </a:cubicBezTo>
                  <a:cubicBezTo>
                    <a:pt x="96" y="303"/>
                    <a:pt x="97" y="302"/>
                    <a:pt x="97" y="301"/>
                  </a:cubicBezTo>
                  <a:close/>
                  <a:moveTo>
                    <a:pt x="1198" y="237"/>
                  </a:moveTo>
                  <a:cubicBezTo>
                    <a:pt x="1196" y="236"/>
                    <a:pt x="1194" y="236"/>
                    <a:pt x="1192" y="236"/>
                  </a:cubicBezTo>
                  <a:cubicBezTo>
                    <a:pt x="1191" y="236"/>
                    <a:pt x="1190" y="236"/>
                    <a:pt x="1189" y="237"/>
                  </a:cubicBezTo>
                  <a:cubicBezTo>
                    <a:pt x="1189" y="237"/>
                    <a:pt x="1189" y="237"/>
                    <a:pt x="1189" y="237"/>
                  </a:cubicBezTo>
                  <a:cubicBezTo>
                    <a:pt x="1189" y="237"/>
                    <a:pt x="1189" y="237"/>
                    <a:pt x="1189" y="237"/>
                  </a:cubicBezTo>
                  <a:cubicBezTo>
                    <a:pt x="1189" y="238"/>
                    <a:pt x="1189" y="238"/>
                    <a:pt x="1189" y="238"/>
                  </a:cubicBezTo>
                  <a:cubicBezTo>
                    <a:pt x="1189" y="239"/>
                    <a:pt x="1190" y="239"/>
                    <a:pt x="1191" y="239"/>
                  </a:cubicBezTo>
                  <a:cubicBezTo>
                    <a:pt x="1193" y="240"/>
                    <a:pt x="1195" y="241"/>
                    <a:pt x="1197" y="242"/>
                  </a:cubicBezTo>
                  <a:cubicBezTo>
                    <a:pt x="1199" y="243"/>
                    <a:pt x="1202" y="245"/>
                    <a:pt x="1203" y="242"/>
                  </a:cubicBezTo>
                  <a:cubicBezTo>
                    <a:pt x="1203" y="241"/>
                    <a:pt x="1202" y="240"/>
                    <a:pt x="1201" y="239"/>
                  </a:cubicBezTo>
                  <a:cubicBezTo>
                    <a:pt x="1201" y="239"/>
                    <a:pt x="1199" y="237"/>
                    <a:pt x="1198" y="237"/>
                  </a:cubicBezTo>
                  <a:close/>
                  <a:moveTo>
                    <a:pt x="807" y="232"/>
                  </a:moveTo>
                  <a:cubicBezTo>
                    <a:pt x="806" y="231"/>
                    <a:pt x="804" y="231"/>
                    <a:pt x="803" y="230"/>
                  </a:cubicBezTo>
                  <a:cubicBezTo>
                    <a:pt x="802" y="230"/>
                    <a:pt x="800" y="230"/>
                    <a:pt x="799" y="230"/>
                  </a:cubicBezTo>
                  <a:cubicBezTo>
                    <a:pt x="798" y="230"/>
                    <a:pt x="798" y="231"/>
                    <a:pt x="799" y="232"/>
                  </a:cubicBezTo>
                  <a:cubicBezTo>
                    <a:pt x="799" y="232"/>
                    <a:pt x="800" y="233"/>
                    <a:pt x="801" y="233"/>
                  </a:cubicBezTo>
                  <a:cubicBezTo>
                    <a:pt x="802" y="233"/>
                    <a:pt x="803" y="234"/>
                    <a:pt x="803" y="234"/>
                  </a:cubicBezTo>
                  <a:cubicBezTo>
                    <a:pt x="804" y="236"/>
                    <a:pt x="804" y="236"/>
                    <a:pt x="805" y="237"/>
                  </a:cubicBezTo>
                  <a:cubicBezTo>
                    <a:pt x="806" y="237"/>
                    <a:pt x="808" y="237"/>
                    <a:pt x="808" y="235"/>
                  </a:cubicBezTo>
                  <a:cubicBezTo>
                    <a:pt x="808" y="235"/>
                    <a:pt x="808" y="234"/>
                    <a:pt x="808" y="234"/>
                  </a:cubicBezTo>
                  <a:cubicBezTo>
                    <a:pt x="808" y="233"/>
                    <a:pt x="807" y="233"/>
                    <a:pt x="807" y="232"/>
                  </a:cubicBezTo>
                  <a:close/>
                  <a:moveTo>
                    <a:pt x="958" y="212"/>
                  </a:moveTo>
                  <a:cubicBezTo>
                    <a:pt x="957" y="210"/>
                    <a:pt x="954" y="208"/>
                    <a:pt x="953" y="206"/>
                  </a:cubicBezTo>
                  <a:cubicBezTo>
                    <a:pt x="951" y="205"/>
                    <a:pt x="950" y="204"/>
                    <a:pt x="950" y="202"/>
                  </a:cubicBezTo>
                  <a:cubicBezTo>
                    <a:pt x="950" y="202"/>
                    <a:pt x="949" y="202"/>
                    <a:pt x="949" y="202"/>
                  </a:cubicBezTo>
                  <a:cubicBezTo>
                    <a:pt x="949" y="201"/>
                    <a:pt x="949" y="201"/>
                    <a:pt x="949" y="201"/>
                  </a:cubicBezTo>
                  <a:cubicBezTo>
                    <a:pt x="948" y="202"/>
                    <a:pt x="947" y="202"/>
                    <a:pt x="947" y="203"/>
                  </a:cubicBezTo>
                  <a:cubicBezTo>
                    <a:pt x="946" y="204"/>
                    <a:pt x="944" y="204"/>
                    <a:pt x="946" y="202"/>
                  </a:cubicBezTo>
                  <a:cubicBezTo>
                    <a:pt x="947" y="201"/>
                    <a:pt x="946" y="199"/>
                    <a:pt x="945" y="199"/>
                  </a:cubicBezTo>
                  <a:cubicBezTo>
                    <a:pt x="945" y="199"/>
                    <a:pt x="944" y="199"/>
                    <a:pt x="944" y="199"/>
                  </a:cubicBezTo>
                  <a:cubicBezTo>
                    <a:pt x="943" y="199"/>
                    <a:pt x="941" y="199"/>
                    <a:pt x="940" y="199"/>
                  </a:cubicBezTo>
                  <a:cubicBezTo>
                    <a:pt x="939" y="199"/>
                    <a:pt x="938" y="199"/>
                    <a:pt x="937" y="198"/>
                  </a:cubicBezTo>
                  <a:cubicBezTo>
                    <a:pt x="936" y="198"/>
                    <a:pt x="936" y="198"/>
                    <a:pt x="936" y="198"/>
                  </a:cubicBezTo>
                  <a:cubicBezTo>
                    <a:pt x="937" y="198"/>
                    <a:pt x="937" y="198"/>
                    <a:pt x="937" y="197"/>
                  </a:cubicBezTo>
                  <a:cubicBezTo>
                    <a:pt x="937" y="195"/>
                    <a:pt x="936" y="193"/>
                    <a:pt x="935" y="191"/>
                  </a:cubicBezTo>
                  <a:cubicBezTo>
                    <a:pt x="935" y="190"/>
                    <a:pt x="934" y="190"/>
                    <a:pt x="933" y="189"/>
                  </a:cubicBezTo>
                  <a:cubicBezTo>
                    <a:pt x="932" y="189"/>
                    <a:pt x="933" y="187"/>
                    <a:pt x="932" y="186"/>
                  </a:cubicBezTo>
                  <a:cubicBezTo>
                    <a:pt x="930" y="186"/>
                    <a:pt x="929" y="186"/>
                    <a:pt x="928" y="185"/>
                  </a:cubicBezTo>
                  <a:cubicBezTo>
                    <a:pt x="926" y="185"/>
                    <a:pt x="926" y="187"/>
                    <a:pt x="924" y="185"/>
                  </a:cubicBezTo>
                  <a:cubicBezTo>
                    <a:pt x="924" y="186"/>
                    <a:pt x="919" y="181"/>
                    <a:pt x="920" y="183"/>
                  </a:cubicBezTo>
                  <a:cubicBezTo>
                    <a:pt x="919" y="181"/>
                    <a:pt x="917" y="180"/>
                    <a:pt x="915" y="179"/>
                  </a:cubicBezTo>
                  <a:cubicBezTo>
                    <a:pt x="912" y="179"/>
                    <a:pt x="918" y="179"/>
                    <a:pt x="919" y="178"/>
                  </a:cubicBezTo>
                  <a:cubicBezTo>
                    <a:pt x="919" y="178"/>
                    <a:pt x="919" y="178"/>
                    <a:pt x="919" y="178"/>
                  </a:cubicBezTo>
                  <a:cubicBezTo>
                    <a:pt x="919" y="178"/>
                    <a:pt x="919" y="177"/>
                    <a:pt x="919" y="177"/>
                  </a:cubicBezTo>
                  <a:cubicBezTo>
                    <a:pt x="919" y="177"/>
                    <a:pt x="919" y="177"/>
                    <a:pt x="919" y="177"/>
                  </a:cubicBezTo>
                  <a:cubicBezTo>
                    <a:pt x="915" y="176"/>
                    <a:pt x="911" y="175"/>
                    <a:pt x="909" y="172"/>
                  </a:cubicBezTo>
                  <a:cubicBezTo>
                    <a:pt x="910" y="172"/>
                    <a:pt x="910" y="172"/>
                    <a:pt x="910" y="172"/>
                  </a:cubicBezTo>
                  <a:cubicBezTo>
                    <a:pt x="911" y="172"/>
                    <a:pt x="912" y="172"/>
                    <a:pt x="913" y="171"/>
                  </a:cubicBezTo>
                  <a:cubicBezTo>
                    <a:pt x="913" y="171"/>
                    <a:pt x="913" y="170"/>
                    <a:pt x="913" y="170"/>
                  </a:cubicBezTo>
                  <a:cubicBezTo>
                    <a:pt x="912" y="170"/>
                    <a:pt x="912" y="170"/>
                    <a:pt x="911" y="170"/>
                  </a:cubicBezTo>
                  <a:cubicBezTo>
                    <a:pt x="910" y="169"/>
                    <a:pt x="913" y="169"/>
                    <a:pt x="913" y="169"/>
                  </a:cubicBezTo>
                  <a:cubicBezTo>
                    <a:pt x="914" y="168"/>
                    <a:pt x="914" y="167"/>
                    <a:pt x="913" y="167"/>
                  </a:cubicBezTo>
                  <a:cubicBezTo>
                    <a:pt x="912" y="166"/>
                    <a:pt x="912" y="166"/>
                    <a:pt x="911" y="166"/>
                  </a:cubicBezTo>
                  <a:cubicBezTo>
                    <a:pt x="912" y="165"/>
                    <a:pt x="913" y="165"/>
                    <a:pt x="914" y="166"/>
                  </a:cubicBezTo>
                  <a:cubicBezTo>
                    <a:pt x="915" y="166"/>
                    <a:pt x="914" y="166"/>
                    <a:pt x="915" y="167"/>
                  </a:cubicBezTo>
                  <a:cubicBezTo>
                    <a:pt x="918" y="167"/>
                    <a:pt x="920" y="169"/>
                    <a:pt x="923" y="168"/>
                  </a:cubicBezTo>
                  <a:cubicBezTo>
                    <a:pt x="923" y="168"/>
                    <a:pt x="923" y="168"/>
                    <a:pt x="924" y="168"/>
                  </a:cubicBezTo>
                  <a:cubicBezTo>
                    <a:pt x="925" y="163"/>
                    <a:pt x="921" y="161"/>
                    <a:pt x="917" y="159"/>
                  </a:cubicBezTo>
                  <a:cubicBezTo>
                    <a:pt x="916" y="159"/>
                    <a:pt x="916" y="159"/>
                    <a:pt x="915" y="159"/>
                  </a:cubicBezTo>
                  <a:cubicBezTo>
                    <a:pt x="914" y="157"/>
                    <a:pt x="914" y="157"/>
                    <a:pt x="916" y="158"/>
                  </a:cubicBezTo>
                  <a:cubicBezTo>
                    <a:pt x="917" y="158"/>
                    <a:pt x="917" y="159"/>
                    <a:pt x="918" y="159"/>
                  </a:cubicBezTo>
                  <a:cubicBezTo>
                    <a:pt x="919" y="159"/>
                    <a:pt x="922" y="159"/>
                    <a:pt x="922" y="158"/>
                  </a:cubicBezTo>
                  <a:cubicBezTo>
                    <a:pt x="923" y="156"/>
                    <a:pt x="922" y="155"/>
                    <a:pt x="921" y="154"/>
                  </a:cubicBezTo>
                  <a:cubicBezTo>
                    <a:pt x="920" y="152"/>
                    <a:pt x="917" y="148"/>
                    <a:pt x="916" y="148"/>
                  </a:cubicBezTo>
                  <a:cubicBezTo>
                    <a:pt x="914" y="148"/>
                    <a:pt x="909" y="150"/>
                    <a:pt x="909" y="150"/>
                  </a:cubicBezTo>
                  <a:cubicBezTo>
                    <a:pt x="908" y="148"/>
                    <a:pt x="906" y="149"/>
                    <a:pt x="904" y="149"/>
                  </a:cubicBezTo>
                  <a:cubicBezTo>
                    <a:pt x="902" y="149"/>
                    <a:pt x="905" y="149"/>
                    <a:pt x="905" y="149"/>
                  </a:cubicBezTo>
                  <a:cubicBezTo>
                    <a:pt x="906" y="149"/>
                    <a:pt x="907" y="148"/>
                    <a:pt x="908" y="148"/>
                  </a:cubicBezTo>
                  <a:cubicBezTo>
                    <a:pt x="910" y="147"/>
                    <a:pt x="913" y="148"/>
                    <a:pt x="914" y="147"/>
                  </a:cubicBezTo>
                  <a:cubicBezTo>
                    <a:pt x="916" y="144"/>
                    <a:pt x="911" y="141"/>
                    <a:pt x="909" y="139"/>
                  </a:cubicBezTo>
                  <a:cubicBezTo>
                    <a:pt x="906" y="138"/>
                    <a:pt x="904" y="138"/>
                    <a:pt x="902" y="137"/>
                  </a:cubicBezTo>
                  <a:cubicBezTo>
                    <a:pt x="901" y="136"/>
                    <a:pt x="897" y="139"/>
                    <a:pt x="899" y="137"/>
                  </a:cubicBezTo>
                  <a:cubicBezTo>
                    <a:pt x="899" y="136"/>
                    <a:pt x="899" y="136"/>
                    <a:pt x="899" y="135"/>
                  </a:cubicBezTo>
                  <a:cubicBezTo>
                    <a:pt x="898" y="135"/>
                    <a:pt x="896" y="133"/>
                    <a:pt x="896" y="133"/>
                  </a:cubicBezTo>
                  <a:cubicBezTo>
                    <a:pt x="896" y="132"/>
                    <a:pt x="897" y="132"/>
                    <a:pt x="898" y="131"/>
                  </a:cubicBezTo>
                  <a:cubicBezTo>
                    <a:pt x="898" y="131"/>
                    <a:pt x="898" y="131"/>
                    <a:pt x="898" y="131"/>
                  </a:cubicBezTo>
                  <a:cubicBezTo>
                    <a:pt x="897" y="129"/>
                    <a:pt x="894" y="126"/>
                    <a:pt x="891" y="125"/>
                  </a:cubicBezTo>
                  <a:cubicBezTo>
                    <a:pt x="891" y="125"/>
                    <a:pt x="890" y="124"/>
                    <a:pt x="890" y="124"/>
                  </a:cubicBezTo>
                  <a:cubicBezTo>
                    <a:pt x="889" y="123"/>
                    <a:pt x="887" y="121"/>
                    <a:pt x="886" y="121"/>
                  </a:cubicBezTo>
                  <a:cubicBezTo>
                    <a:pt x="883" y="121"/>
                    <a:pt x="881" y="125"/>
                    <a:pt x="878" y="122"/>
                  </a:cubicBezTo>
                  <a:cubicBezTo>
                    <a:pt x="877" y="121"/>
                    <a:pt x="878" y="120"/>
                    <a:pt x="878" y="118"/>
                  </a:cubicBezTo>
                  <a:cubicBezTo>
                    <a:pt x="877" y="117"/>
                    <a:pt x="870" y="120"/>
                    <a:pt x="873" y="118"/>
                  </a:cubicBezTo>
                  <a:cubicBezTo>
                    <a:pt x="874" y="117"/>
                    <a:pt x="874" y="114"/>
                    <a:pt x="873" y="113"/>
                  </a:cubicBezTo>
                  <a:cubicBezTo>
                    <a:pt x="873" y="112"/>
                    <a:pt x="869" y="112"/>
                    <a:pt x="870" y="111"/>
                  </a:cubicBezTo>
                  <a:cubicBezTo>
                    <a:pt x="874" y="106"/>
                    <a:pt x="861" y="103"/>
                    <a:pt x="860" y="102"/>
                  </a:cubicBezTo>
                  <a:cubicBezTo>
                    <a:pt x="858" y="100"/>
                    <a:pt x="857" y="100"/>
                    <a:pt x="855" y="100"/>
                  </a:cubicBezTo>
                  <a:cubicBezTo>
                    <a:pt x="853" y="100"/>
                    <a:pt x="851" y="99"/>
                    <a:pt x="849" y="99"/>
                  </a:cubicBezTo>
                  <a:cubicBezTo>
                    <a:pt x="848" y="99"/>
                    <a:pt x="845" y="100"/>
                    <a:pt x="844" y="100"/>
                  </a:cubicBezTo>
                  <a:cubicBezTo>
                    <a:pt x="842" y="100"/>
                    <a:pt x="841" y="101"/>
                    <a:pt x="840" y="102"/>
                  </a:cubicBezTo>
                  <a:cubicBezTo>
                    <a:pt x="836" y="106"/>
                    <a:pt x="839" y="102"/>
                    <a:pt x="837" y="101"/>
                  </a:cubicBezTo>
                  <a:cubicBezTo>
                    <a:pt x="835" y="100"/>
                    <a:pt x="831" y="101"/>
                    <a:pt x="830" y="101"/>
                  </a:cubicBezTo>
                  <a:cubicBezTo>
                    <a:pt x="829" y="101"/>
                    <a:pt x="825" y="103"/>
                    <a:pt x="827" y="100"/>
                  </a:cubicBezTo>
                  <a:cubicBezTo>
                    <a:pt x="827" y="99"/>
                    <a:pt x="827" y="99"/>
                    <a:pt x="827" y="98"/>
                  </a:cubicBezTo>
                  <a:cubicBezTo>
                    <a:pt x="826" y="96"/>
                    <a:pt x="830" y="96"/>
                    <a:pt x="831" y="95"/>
                  </a:cubicBezTo>
                  <a:cubicBezTo>
                    <a:pt x="832" y="95"/>
                    <a:pt x="832" y="95"/>
                    <a:pt x="832" y="95"/>
                  </a:cubicBezTo>
                  <a:cubicBezTo>
                    <a:pt x="831" y="93"/>
                    <a:pt x="831" y="94"/>
                    <a:pt x="830" y="93"/>
                  </a:cubicBezTo>
                  <a:cubicBezTo>
                    <a:pt x="830" y="93"/>
                    <a:pt x="832" y="91"/>
                    <a:pt x="833" y="90"/>
                  </a:cubicBezTo>
                  <a:cubicBezTo>
                    <a:pt x="833" y="89"/>
                    <a:pt x="833" y="89"/>
                    <a:pt x="832" y="88"/>
                  </a:cubicBezTo>
                  <a:cubicBezTo>
                    <a:pt x="829" y="85"/>
                    <a:pt x="832" y="85"/>
                    <a:pt x="833" y="83"/>
                  </a:cubicBezTo>
                  <a:cubicBezTo>
                    <a:pt x="835" y="80"/>
                    <a:pt x="827" y="79"/>
                    <a:pt x="822" y="80"/>
                  </a:cubicBezTo>
                  <a:cubicBezTo>
                    <a:pt x="821" y="79"/>
                    <a:pt x="820" y="78"/>
                    <a:pt x="818" y="78"/>
                  </a:cubicBezTo>
                  <a:cubicBezTo>
                    <a:pt x="817" y="78"/>
                    <a:pt x="815" y="78"/>
                    <a:pt x="814" y="79"/>
                  </a:cubicBezTo>
                  <a:cubicBezTo>
                    <a:pt x="812" y="80"/>
                    <a:pt x="811" y="79"/>
                    <a:pt x="809" y="79"/>
                  </a:cubicBezTo>
                  <a:cubicBezTo>
                    <a:pt x="808" y="78"/>
                    <a:pt x="803" y="77"/>
                    <a:pt x="802" y="78"/>
                  </a:cubicBezTo>
                  <a:cubicBezTo>
                    <a:pt x="801" y="80"/>
                    <a:pt x="798" y="83"/>
                    <a:pt x="797" y="83"/>
                  </a:cubicBezTo>
                  <a:cubicBezTo>
                    <a:pt x="796" y="83"/>
                    <a:pt x="795" y="83"/>
                    <a:pt x="793" y="83"/>
                  </a:cubicBezTo>
                  <a:cubicBezTo>
                    <a:pt x="791" y="85"/>
                    <a:pt x="789" y="90"/>
                    <a:pt x="793" y="90"/>
                  </a:cubicBezTo>
                  <a:cubicBezTo>
                    <a:pt x="793" y="90"/>
                    <a:pt x="796" y="90"/>
                    <a:pt x="796" y="90"/>
                  </a:cubicBezTo>
                  <a:cubicBezTo>
                    <a:pt x="796" y="90"/>
                    <a:pt x="794" y="92"/>
                    <a:pt x="794" y="93"/>
                  </a:cubicBezTo>
                  <a:cubicBezTo>
                    <a:pt x="794" y="93"/>
                    <a:pt x="795" y="96"/>
                    <a:pt x="795" y="96"/>
                  </a:cubicBezTo>
                  <a:cubicBezTo>
                    <a:pt x="793" y="95"/>
                    <a:pt x="792" y="92"/>
                    <a:pt x="789" y="92"/>
                  </a:cubicBezTo>
                  <a:cubicBezTo>
                    <a:pt x="788" y="92"/>
                    <a:pt x="784" y="92"/>
                    <a:pt x="783" y="94"/>
                  </a:cubicBezTo>
                  <a:cubicBezTo>
                    <a:pt x="783" y="95"/>
                    <a:pt x="783" y="98"/>
                    <a:pt x="784" y="99"/>
                  </a:cubicBezTo>
                  <a:cubicBezTo>
                    <a:pt x="785" y="100"/>
                    <a:pt x="788" y="103"/>
                    <a:pt x="787" y="104"/>
                  </a:cubicBezTo>
                  <a:cubicBezTo>
                    <a:pt x="786" y="104"/>
                    <a:pt x="786" y="105"/>
                    <a:pt x="786" y="105"/>
                  </a:cubicBezTo>
                  <a:cubicBezTo>
                    <a:pt x="785" y="107"/>
                    <a:pt x="782" y="109"/>
                    <a:pt x="782" y="111"/>
                  </a:cubicBezTo>
                  <a:cubicBezTo>
                    <a:pt x="782" y="110"/>
                    <a:pt x="781" y="108"/>
                    <a:pt x="780" y="108"/>
                  </a:cubicBezTo>
                  <a:cubicBezTo>
                    <a:pt x="778" y="108"/>
                    <a:pt x="776" y="108"/>
                    <a:pt x="773" y="108"/>
                  </a:cubicBezTo>
                  <a:cubicBezTo>
                    <a:pt x="776" y="107"/>
                    <a:pt x="774" y="107"/>
                    <a:pt x="778" y="107"/>
                  </a:cubicBezTo>
                  <a:cubicBezTo>
                    <a:pt x="780" y="107"/>
                    <a:pt x="783" y="107"/>
                    <a:pt x="785" y="105"/>
                  </a:cubicBezTo>
                  <a:cubicBezTo>
                    <a:pt x="785" y="105"/>
                    <a:pt x="785" y="105"/>
                    <a:pt x="785" y="104"/>
                  </a:cubicBezTo>
                  <a:cubicBezTo>
                    <a:pt x="784" y="102"/>
                    <a:pt x="781" y="99"/>
                    <a:pt x="779" y="98"/>
                  </a:cubicBezTo>
                  <a:cubicBezTo>
                    <a:pt x="775" y="97"/>
                    <a:pt x="782" y="90"/>
                    <a:pt x="783" y="89"/>
                  </a:cubicBezTo>
                  <a:cubicBezTo>
                    <a:pt x="785" y="88"/>
                    <a:pt x="782" y="87"/>
                    <a:pt x="785" y="84"/>
                  </a:cubicBezTo>
                  <a:cubicBezTo>
                    <a:pt x="788" y="83"/>
                    <a:pt x="790" y="82"/>
                    <a:pt x="793" y="80"/>
                  </a:cubicBezTo>
                  <a:cubicBezTo>
                    <a:pt x="795" y="79"/>
                    <a:pt x="798" y="77"/>
                    <a:pt x="801" y="77"/>
                  </a:cubicBezTo>
                  <a:cubicBezTo>
                    <a:pt x="803" y="76"/>
                    <a:pt x="807" y="76"/>
                    <a:pt x="806" y="73"/>
                  </a:cubicBezTo>
                  <a:cubicBezTo>
                    <a:pt x="806" y="73"/>
                    <a:pt x="806" y="73"/>
                    <a:pt x="806" y="73"/>
                  </a:cubicBezTo>
                  <a:cubicBezTo>
                    <a:pt x="805" y="73"/>
                    <a:pt x="803" y="72"/>
                    <a:pt x="802" y="72"/>
                  </a:cubicBezTo>
                  <a:cubicBezTo>
                    <a:pt x="799" y="72"/>
                    <a:pt x="796" y="71"/>
                    <a:pt x="794" y="70"/>
                  </a:cubicBezTo>
                  <a:cubicBezTo>
                    <a:pt x="790" y="70"/>
                    <a:pt x="786" y="70"/>
                    <a:pt x="783" y="71"/>
                  </a:cubicBezTo>
                  <a:cubicBezTo>
                    <a:pt x="780" y="71"/>
                    <a:pt x="778" y="71"/>
                    <a:pt x="776" y="72"/>
                  </a:cubicBezTo>
                  <a:cubicBezTo>
                    <a:pt x="774" y="72"/>
                    <a:pt x="772" y="74"/>
                    <a:pt x="770" y="74"/>
                  </a:cubicBezTo>
                  <a:cubicBezTo>
                    <a:pt x="766" y="76"/>
                    <a:pt x="764" y="78"/>
                    <a:pt x="761" y="80"/>
                  </a:cubicBezTo>
                  <a:cubicBezTo>
                    <a:pt x="754" y="85"/>
                    <a:pt x="749" y="90"/>
                    <a:pt x="746" y="97"/>
                  </a:cubicBezTo>
                  <a:cubicBezTo>
                    <a:pt x="744" y="102"/>
                    <a:pt x="758" y="103"/>
                    <a:pt x="760" y="104"/>
                  </a:cubicBezTo>
                  <a:cubicBezTo>
                    <a:pt x="760" y="104"/>
                    <a:pt x="761" y="105"/>
                    <a:pt x="761" y="105"/>
                  </a:cubicBezTo>
                  <a:cubicBezTo>
                    <a:pt x="761" y="105"/>
                    <a:pt x="760" y="105"/>
                    <a:pt x="760" y="105"/>
                  </a:cubicBezTo>
                  <a:cubicBezTo>
                    <a:pt x="757" y="106"/>
                    <a:pt x="754" y="106"/>
                    <a:pt x="751" y="104"/>
                  </a:cubicBezTo>
                  <a:cubicBezTo>
                    <a:pt x="750" y="103"/>
                    <a:pt x="747" y="103"/>
                    <a:pt x="747" y="103"/>
                  </a:cubicBezTo>
                  <a:cubicBezTo>
                    <a:pt x="744" y="103"/>
                    <a:pt x="744" y="104"/>
                    <a:pt x="744" y="106"/>
                  </a:cubicBezTo>
                  <a:cubicBezTo>
                    <a:pt x="744" y="107"/>
                    <a:pt x="744" y="109"/>
                    <a:pt x="744" y="110"/>
                  </a:cubicBezTo>
                  <a:cubicBezTo>
                    <a:pt x="745" y="112"/>
                    <a:pt x="748" y="113"/>
                    <a:pt x="749" y="115"/>
                  </a:cubicBezTo>
                  <a:cubicBezTo>
                    <a:pt x="750" y="118"/>
                    <a:pt x="754" y="117"/>
                    <a:pt x="757" y="118"/>
                  </a:cubicBezTo>
                  <a:cubicBezTo>
                    <a:pt x="760" y="119"/>
                    <a:pt x="763" y="121"/>
                    <a:pt x="764" y="122"/>
                  </a:cubicBezTo>
                  <a:cubicBezTo>
                    <a:pt x="765" y="123"/>
                    <a:pt x="765" y="123"/>
                    <a:pt x="766" y="123"/>
                  </a:cubicBezTo>
                  <a:cubicBezTo>
                    <a:pt x="768" y="123"/>
                    <a:pt x="770" y="122"/>
                    <a:pt x="772" y="123"/>
                  </a:cubicBezTo>
                  <a:cubicBezTo>
                    <a:pt x="773" y="124"/>
                    <a:pt x="774" y="123"/>
                    <a:pt x="774" y="123"/>
                  </a:cubicBezTo>
                  <a:cubicBezTo>
                    <a:pt x="775" y="123"/>
                    <a:pt x="779" y="121"/>
                    <a:pt x="776" y="124"/>
                  </a:cubicBezTo>
                  <a:cubicBezTo>
                    <a:pt x="775" y="124"/>
                    <a:pt x="775" y="124"/>
                    <a:pt x="775" y="125"/>
                  </a:cubicBezTo>
                  <a:cubicBezTo>
                    <a:pt x="775" y="125"/>
                    <a:pt x="775" y="125"/>
                    <a:pt x="775" y="126"/>
                  </a:cubicBezTo>
                  <a:cubicBezTo>
                    <a:pt x="778" y="128"/>
                    <a:pt x="782" y="125"/>
                    <a:pt x="785" y="128"/>
                  </a:cubicBezTo>
                  <a:cubicBezTo>
                    <a:pt x="786" y="129"/>
                    <a:pt x="788" y="128"/>
                    <a:pt x="789" y="128"/>
                  </a:cubicBezTo>
                  <a:cubicBezTo>
                    <a:pt x="789" y="128"/>
                    <a:pt x="789" y="128"/>
                    <a:pt x="789" y="128"/>
                  </a:cubicBezTo>
                  <a:cubicBezTo>
                    <a:pt x="793" y="128"/>
                    <a:pt x="793" y="129"/>
                    <a:pt x="795" y="130"/>
                  </a:cubicBezTo>
                  <a:cubicBezTo>
                    <a:pt x="798" y="131"/>
                    <a:pt x="800" y="131"/>
                    <a:pt x="802" y="132"/>
                  </a:cubicBezTo>
                  <a:cubicBezTo>
                    <a:pt x="803" y="133"/>
                    <a:pt x="805" y="133"/>
                    <a:pt x="807" y="133"/>
                  </a:cubicBezTo>
                  <a:cubicBezTo>
                    <a:pt x="807" y="133"/>
                    <a:pt x="807" y="133"/>
                    <a:pt x="807" y="133"/>
                  </a:cubicBezTo>
                  <a:cubicBezTo>
                    <a:pt x="809" y="127"/>
                    <a:pt x="815" y="134"/>
                    <a:pt x="818" y="135"/>
                  </a:cubicBezTo>
                  <a:cubicBezTo>
                    <a:pt x="821" y="135"/>
                    <a:pt x="825" y="136"/>
                    <a:pt x="828" y="135"/>
                  </a:cubicBezTo>
                  <a:cubicBezTo>
                    <a:pt x="830" y="133"/>
                    <a:pt x="827" y="129"/>
                    <a:pt x="826" y="128"/>
                  </a:cubicBezTo>
                  <a:cubicBezTo>
                    <a:pt x="825" y="127"/>
                    <a:pt x="820" y="125"/>
                    <a:pt x="824" y="124"/>
                  </a:cubicBezTo>
                  <a:cubicBezTo>
                    <a:pt x="825" y="123"/>
                    <a:pt x="827" y="122"/>
                    <a:pt x="827" y="125"/>
                  </a:cubicBezTo>
                  <a:cubicBezTo>
                    <a:pt x="827" y="127"/>
                    <a:pt x="829" y="130"/>
                    <a:pt x="831" y="131"/>
                  </a:cubicBezTo>
                  <a:cubicBezTo>
                    <a:pt x="832" y="131"/>
                    <a:pt x="837" y="131"/>
                    <a:pt x="836" y="133"/>
                  </a:cubicBezTo>
                  <a:cubicBezTo>
                    <a:pt x="836" y="133"/>
                    <a:pt x="832" y="137"/>
                    <a:pt x="833" y="139"/>
                  </a:cubicBezTo>
                  <a:cubicBezTo>
                    <a:pt x="833" y="139"/>
                    <a:pt x="833" y="140"/>
                    <a:pt x="834" y="140"/>
                  </a:cubicBezTo>
                  <a:cubicBezTo>
                    <a:pt x="837" y="141"/>
                    <a:pt x="836" y="142"/>
                    <a:pt x="838" y="144"/>
                  </a:cubicBezTo>
                  <a:cubicBezTo>
                    <a:pt x="838" y="144"/>
                    <a:pt x="840" y="144"/>
                    <a:pt x="840" y="144"/>
                  </a:cubicBezTo>
                  <a:cubicBezTo>
                    <a:pt x="840" y="145"/>
                    <a:pt x="842" y="146"/>
                    <a:pt x="842" y="147"/>
                  </a:cubicBezTo>
                  <a:cubicBezTo>
                    <a:pt x="843" y="149"/>
                    <a:pt x="845" y="149"/>
                    <a:pt x="847" y="150"/>
                  </a:cubicBezTo>
                  <a:cubicBezTo>
                    <a:pt x="846" y="150"/>
                    <a:pt x="845" y="151"/>
                    <a:pt x="845" y="151"/>
                  </a:cubicBezTo>
                  <a:cubicBezTo>
                    <a:pt x="843" y="152"/>
                    <a:pt x="841" y="152"/>
                    <a:pt x="839" y="152"/>
                  </a:cubicBezTo>
                  <a:cubicBezTo>
                    <a:pt x="837" y="152"/>
                    <a:pt x="837" y="154"/>
                    <a:pt x="838" y="155"/>
                  </a:cubicBezTo>
                  <a:cubicBezTo>
                    <a:pt x="838" y="157"/>
                    <a:pt x="851" y="156"/>
                    <a:pt x="850" y="157"/>
                  </a:cubicBezTo>
                  <a:cubicBezTo>
                    <a:pt x="850" y="158"/>
                    <a:pt x="851" y="159"/>
                    <a:pt x="851" y="159"/>
                  </a:cubicBezTo>
                  <a:cubicBezTo>
                    <a:pt x="853" y="159"/>
                    <a:pt x="851" y="161"/>
                    <a:pt x="852" y="162"/>
                  </a:cubicBezTo>
                  <a:cubicBezTo>
                    <a:pt x="854" y="163"/>
                    <a:pt x="855" y="163"/>
                    <a:pt x="857" y="163"/>
                  </a:cubicBezTo>
                  <a:cubicBezTo>
                    <a:pt x="857" y="162"/>
                    <a:pt x="857" y="162"/>
                    <a:pt x="858" y="162"/>
                  </a:cubicBezTo>
                  <a:cubicBezTo>
                    <a:pt x="860" y="163"/>
                    <a:pt x="859" y="165"/>
                    <a:pt x="859" y="167"/>
                  </a:cubicBezTo>
                  <a:cubicBezTo>
                    <a:pt x="859" y="167"/>
                    <a:pt x="859" y="167"/>
                    <a:pt x="860" y="167"/>
                  </a:cubicBezTo>
                  <a:cubicBezTo>
                    <a:pt x="861" y="168"/>
                    <a:pt x="863" y="168"/>
                    <a:pt x="864" y="169"/>
                  </a:cubicBezTo>
                  <a:cubicBezTo>
                    <a:pt x="864" y="170"/>
                    <a:pt x="865" y="170"/>
                    <a:pt x="865" y="170"/>
                  </a:cubicBezTo>
                  <a:cubicBezTo>
                    <a:pt x="870" y="171"/>
                    <a:pt x="865" y="172"/>
                    <a:pt x="866" y="174"/>
                  </a:cubicBezTo>
                  <a:cubicBezTo>
                    <a:pt x="866" y="175"/>
                    <a:pt x="865" y="177"/>
                    <a:pt x="867" y="179"/>
                  </a:cubicBezTo>
                  <a:cubicBezTo>
                    <a:pt x="868" y="179"/>
                    <a:pt x="868" y="180"/>
                    <a:pt x="869" y="180"/>
                  </a:cubicBezTo>
                  <a:cubicBezTo>
                    <a:pt x="870" y="179"/>
                    <a:pt x="871" y="178"/>
                    <a:pt x="872" y="179"/>
                  </a:cubicBezTo>
                  <a:cubicBezTo>
                    <a:pt x="874" y="180"/>
                    <a:pt x="874" y="181"/>
                    <a:pt x="872" y="182"/>
                  </a:cubicBezTo>
                  <a:cubicBezTo>
                    <a:pt x="871" y="182"/>
                    <a:pt x="871" y="182"/>
                    <a:pt x="871" y="181"/>
                  </a:cubicBezTo>
                  <a:cubicBezTo>
                    <a:pt x="870" y="181"/>
                    <a:pt x="869" y="181"/>
                    <a:pt x="868" y="180"/>
                  </a:cubicBezTo>
                  <a:cubicBezTo>
                    <a:pt x="866" y="180"/>
                    <a:pt x="865" y="183"/>
                    <a:pt x="866" y="184"/>
                  </a:cubicBezTo>
                  <a:cubicBezTo>
                    <a:pt x="866" y="185"/>
                    <a:pt x="869" y="185"/>
                    <a:pt x="864" y="185"/>
                  </a:cubicBezTo>
                  <a:cubicBezTo>
                    <a:pt x="863" y="184"/>
                    <a:pt x="862" y="184"/>
                    <a:pt x="861" y="185"/>
                  </a:cubicBezTo>
                  <a:cubicBezTo>
                    <a:pt x="859" y="186"/>
                    <a:pt x="856" y="187"/>
                    <a:pt x="855" y="189"/>
                  </a:cubicBezTo>
                  <a:cubicBezTo>
                    <a:pt x="855" y="189"/>
                    <a:pt x="855" y="189"/>
                    <a:pt x="855" y="190"/>
                  </a:cubicBezTo>
                  <a:cubicBezTo>
                    <a:pt x="857" y="192"/>
                    <a:pt x="861" y="192"/>
                    <a:pt x="863" y="192"/>
                  </a:cubicBezTo>
                  <a:cubicBezTo>
                    <a:pt x="866" y="193"/>
                    <a:pt x="869" y="195"/>
                    <a:pt x="872" y="194"/>
                  </a:cubicBezTo>
                  <a:cubicBezTo>
                    <a:pt x="873" y="192"/>
                    <a:pt x="873" y="193"/>
                    <a:pt x="874" y="192"/>
                  </a:cubicBezTo>
                  <a:cubicBezTo>
                    <a:pt x="874" y="191"/>
                    <a:pt x="874" y="191"/>
                    <a:pt x="874" y="191"/>
                  </a:cubicBezTo>
                  <a:cubicBezTo>
                    <a:pt x="874" y="188"/>
                    <a:pt x="878" y="191"/>
                    <a:pt x="877" y="193"/>
                  </a:cubicBezTo>
                  <a:cubicBezTo>
                    <a:pt x="877" y="195"/>
                    <a:pt x="878" y="196"/>
                    <a:pt x="880" y="197"/>
                  </a:cubicBezTo>
                  <a:cubicBezTo>
                    <a:pt x="882" y="198"/>
                    <a:pt x="884" y="197"/>
                    <a:pt x="886" y="200"/>
                  </a:cubicBezTo>
                  <a:cubicBezTo>
                    <a:pt x="887" y="200"/>
                    <a:pt x="888" y="200"/>
                    <a:pt x="887" y="201"/>
                  </a:cubicBezTo>
                  <a:cubicBezTo>
                    <a:pt x="886" y="202"/>
                    <a:pt x="884" y="204"/>
                    <a:pt x="883" y="203"/>
                  </a:cubicBezTo>
                  <a:cubicBezTo>
                    <a:pt x="883" y="202"/>
                    <a:pt x="882" y="202"/>
                    <a:pt x="882" y="202"/>
                  </a:cubicBezTo>
                  <a:cubicBezTo>
                    <a:pt x="879" y="202"/>
                    <a:pt x="879" y="203"/>
                    <a:pt x="876" y="201"/>
                  </a:cubicBezTo>
                  <a:cubicBezTo>
                    <a:pt x="875" y="200"/>
                    <a:pt x="871" y="204"/>
                    <a:pt x="872" y="204"/>
                  </a:cubicBezTo>
                  <a:cubicBezTo>
                    <a:pt x="871" y="205"/>
                    <a:pt x="870" y="205"/>
                    <a:pt x="869" y="206"/>
                  </a:cubicBezTo>
                  <a:cubicBezTo>
                    <a:pt x="869" y="205"/>
                    <a:pt x="869" y="205"/>
                    <a:pt x="869" y="205"/>
                  </a:cubicBezTo>
                  <a:cubicBezTo>
                    <a:pt x="870" y="203"/>
                    <a:pt x="872" y="201"/>
                    <a:pt x="872" y="200"/>
                  </a:cubicBezTo>
                  <a:cubicBezTo>
                    <a:pt x="874" y="194"/>
                    <a:pt x="864" y="193"/>
                    <a:pt x="861" y="193"/>
                  </a:cubicBezTo>
                  <a:cubicBezTo>
                    <a:pt x="857" y="192"/>
                    <a:pt x="855" y="190"/>
                    <a:pt x="852" y="192"/>
                  </a:cubicBezTo>
                  <a:cubicBezTo>
                    <a:pt x="848" y="194"/>
                    <a:pt x="844" y="194"/>
                    <a:pt x="841" y="198"/>
                  </a:cubicBezTo>
                  <a:cubicBezTo>
                    <a:pt x="841" y="198"/>
                    <a:pt x="842" y="201"/>
                    <a:pt x="843" y="201"/>
                  </a:cubicBezTo>
                  <a:cubicBezTo>
                    <a:pt x="844" y="202"/>
                    <a:pt x="845" y="206"/>
                    <a:pt x="846" y="209"/>
                  </a:cubicBezTo>
                  <a:cubicBezTo>
                    <a:pt x="844" y="209"/>
                    <a:pt x="843" y="208"/>
                    <a:pt x="841" y="207"/>
                  </a:cubicBezTo>
                  <a:cubicBezTo>
                    <a:pt x="840" y="206"/>
                    <a:pt x="839" y="207"/>
                    <a:pt x="838" y="208"/>
                  </a:cubicBezTo>
                  <a:cubicBezTo>
                    <a:pt x="833" y="210"/>
                    <a:pt x="836" y="208"/>
                    <a:pt x="834" y="207"/>
                  </a:cubicBezTo>
                  <a:cubicBezTo>
                    <a:pt x="833" y="206"/>
                    <a:pt x="831" y="208"/>
                    <a:pt x="830" y="208"/>
                  </a:cubicBezTo>
                  <a:cubicBezTo>
                    <a:pt x="828" y="209"/>
                    <a:pt x="818" y="206"/>
                    <a:pt x="819" y="206"/>
                  </a:cubicBezTo>
                  <a:cubicBezTo>
                    <a:pt x="817" y="205"/>
                    <a:pt x="816" y="205"/>
                    <a:pt x="814" y="204"/>
                  </a:cubicBezTo>
                  <a:cubicBezTo>
                    <a:pt x="813" y="204"/>
                    <a:pt x="812" y="202"/>
                    <a:pt x="811" y="202"/>
                  </a:cubicBezTo>
                  <a:cubicBezTo>
                    <a:pt x="809" y="202"/>
                    <a:pt x="806" y="203"/>
                    <a:pt x="808" y="206"/>
                  </a:cubicBezTo>
                  <a:cubicBezTo>
                    <a:pt x="808" y="207"/>
                    <a:pt x="802" y="207"/>
                    <a:pt x="802" y="208"/>
                  </a:cubicBezTo>
                  <a:cubicBezTo>
                    <a:pt x="801" y="208"/>
                    <a:pt x="800" y="210"/>
                    <a:pt x="800" y="211"/>
                  </a:cubicBezTo>
                  <a:cubicBezTo>
                    <a:pt x="797" y="213"/>
                    <a:pt x="798" y="217"/>
                    <a:pt x="801" y="219"/>
                  </a:cubicBezTo>
                  <a:cubicBezTo>
                    <a:pt x="805" y="222"/>
                    <a:pt x="807" y="223"/>
                    <a:pt x="812" y="222"/>
                  </a:cubicBezTo>
                  <a:cubicBezTo>
                    <a:pt x="813" y="222"/>
                    <a:pt x="813" y="222"/>
                    <a:pt x="814" y="222"/>
                  </a:cubicBezTo>
                  <a:cubicBezTo>
                    <a:pt x="816" y="221"/>
                    <a:pt x="818" y="222"/>
                    <a:pt x="820" y="222"/>
                  </a:cubicBezTo>
                  <a:cubicBezTo>
                    <a:pt x="821" y="221"/>
                    <a:pt x="821" y="221"/>
                    <a:pt x="821" y="221"/>
                  </a:cubicBezTo>
                  <a:cubicBezTo>
                    <a:pt x="824" y="222"/>
                    <a:pt x="826" y="223"/>
                    <a:pt x="829" y="224"/>
                  </a:cubicBezTo>
                  <a:cubicBezTo>
                    <a:pt x="832" y="224"/>
                    <a:pt x="834" y="221"/>
                    <a:pt x="838" y="223"/>
                  </a:cubicBezTo>
                  <a:cubicBezTo>
                    <a:pt x="839" y="224"/>
                    <a:pt x="842" y="223"/>
                    <a:pt x="842" y="225"/>
                  </a:cubicBezTo>
                  <a:cubicBezTo>
                    <a:pt x="841" y="227"/>
                    <a:pt x="842" y="228"/>
                    <a:pt x="844" y="229"/>
                  </a:cubicBezTo>
                  <a:cubicBezTo>
                    <a:pt x="846" y="232"/>
                    <a:pt x="846" y="236"/>
                    <a:pt x="849" y="238"/>
                  </a:cubicBezTo>
                  <a:cubicBezTo>
                    <a:pt x="849" y="238"/>
                    <a:pt x="850" y="238"/>
                    <a:pt x="850" y="238"/>
                  </a:cubicBezTo>
                  <a:cubicBezTo>
                    <a:pt x="852" y="237"/>
                    <a:pt x="855" y="239"/>
                    <a:pt x="857" y="240"/>
                  </a:cubicBezTo>
                  <a:cubicBezTo>
                    <a:pt x="855" y="239"/>
                    <a:pt x="851" y="241"/>
                    <a:pt x="850" y="243"/>
                  </a:cubicBezTo>
                  <a:cubicBezTo>
                    <a:pt x="849" y="244"/>
                    <a:pt x="853" y="247"/>
                    <a:pt x="854" y="247"/>
                  </a:cubicBezTo>
                  <a:cubicBezTo>
                    <a:pt x="856" y="248"/>
                    <a:pt x="859" y="249"/>
                    <a:pt x="861" y="251"/>
                  </a:cubicBezTo>
                  <a:cubicBezTo>
                    <a:pt x="862" y="252"/>
                    <a:pt x="863" y="253"/>
                    <a:pt x="864" y="254"/>
                  </a:cubicBezTo>
                  <a:cubicBezTo>
                    <a:pt x="868" y="257"/>
                    <a:pt x="872" y="259"/>
                    <a:pt x="875" y="262"/>
                  </a:cubicBezTo>
                  <a:cubicBezTo>
                    <a:pt x="876" y="263"/>
                    <a:pt x="877" y="265"/>
                    <a:pt x="879" y="265"/>
                  </a:cubicBezTo>
                  <a:cubicBezTo>
                    <a:pt x="882" y="266"/>
                    <a:pt x="884" y="267"/>
                    <a:pt x="887" y="268"/>
                  </a:cubicBezTo>
                  <a:cubicBezTo>
                    <a:pt x="891" y="271"/>
                    <a:pt x="895" y="272"/>
                    <a:pt x="899" y="275"/>
                  </a:cubicBezTo>
                  <a:cubicBezTo>
                    <a:pt x="900" y="277"/>
                    <a:pt x="902" y="277"/>
                    <a:pt x="904" y="276"/>
                  </a:cubicBezTo>
                  <a:cubicBezTo>
                    <a:pt x="905" y="274"/>
                    <a:pt x="905" y="272"/>
                    <a:pt x="903" y="270"/>
                  </a:cubicBezTo>
                  <a:cubicBezTo>
                    <a:pt x="901" y="267"/>
                    <a:pt x="900" y="264"/>
                    <a:pt x="897" y="262"/>
                  </a:cubicBezTo>
                  <a:cubicBezTo>
                    <a:pt x="893" y="260"/>
                    <a:pt x="892" y="255"/>
                    <a:pt x="889" y="253"/>
                  </a:cubicBezTo>
                  <a:cubicBezTo>
                    <a:pt x="886" y="251"/>
                    <a:pt x="887" y="250"/>
                    <a:pt x="886" y="248"/>
                  </a:cubicBezTo>
                  <a:cubicBezTo>
                    <a:pt x="885" y="247"/>
                    <a:pt x="885" y="247"/>
                    <a:pt x="884" y="246"/>
                  </a:cubicBezTo>
                  <a:cubicBezTo>
                    <a:pt x="883" y="245"/>
                    <a:pt x="882" y="244"/>
                    <a:pt x="882" y="242"/>
                  </a:cubicBezTo>
                  <a:cubicBezTo>
                    <a:pt x="884" y="243"/>
                    <a:pt x="885" y="243"/>
                    <a:pt x="886" y="245"/>
                  </a:cubicBezTo>
                  <a:cubicBezTo>
                    <a:pt x="887" y="245"/>
                    <a:pt x="887" y="246"/>
                    <a:pt x="888" y="246"/>
                  </a:cubicBezTo>
                  <a:cubicBezTo>
                    <a:pt x="891" y="246"/>
                    <a:pt x="893" y="250"/>
                    <a:pt x="895" y="252"/>
                  </a:cubicBezTo>
                  <a:cubicBezTo>
                    <a:pt x="896" y="254"/>
                    <a:pt x="898" y="253"/>
                    <a:pt x="899" y="256"/>
                  </a:cubicBezTo>
                  <a:cubicBezTo>
                    <a:pt x="899" y="257"/>
                    <a:pt x="900" y="258"/>
                    <a:pt x="900" y="258"/>
                  </a:cubicBezTo>
                  <a:cubicBezTo>
                    <a:pt x="901" y="259"/>
                    <a:pt x="902" y="257"/>
                    <a:pt x="904" y="258"/>
                  </a:cubicBezTo>
                  <a:cubicBezTo>
                    <a:pt x="904" y="259"/>
                    <a:pt x="907" y="260"/>
                    <a:pt x="908" y="261"/>
                  </a:cubicBezTo>
                  <a:cubicBezTo>
                    <a:pt x="909" y="262"/>
                    <a:pt x="909" y="264"/>
                    <a:pt x="910" y="266"/>
                  </a:cubicBezTo>
                  <a:cubicBezTo>
                    <a:pt x="911" y="267"/>
                    <a:pt x="912" y="269"/>
                    <a:pt x="913" y="268"/>
                  </a:cubicBezTo>
                  <a:cubicBezTo>
                    <a:pt x="915" y="267"/>
                    <a:pt x="915" y="266"/>
                    <a:pt x="915" y="264"/>
                  </a:cubicBezTo>
                  <a:cubicBezTo>
                    <a:pt x="914" y="262"/>
                    <a:pt x="916" y="264"/>
                    <a:pt x="916" y="264"/>
                  </a:cubicBezTo>
                  <a:cubicBezTo>
                    <a:pt x="918" y="264"/>
                    <a:pt x="917" y="264"/>
                    <a:pt x="918" y="264"/>
                  </a:cubicBezTo>
                  <a:cubicBezTo>
                    <a:pt x="919" y="264"/>
                    <a:pt x="919" y="263"/>
                    <a:pt x="919" y="263"/>
                  </a:cubicBezTo>
                  <a:cubicBezTo>
                    <a:pt x="919" y="261"/>
                    <a:pt x="918" y="260"/>
                    <a:pt x="917" y="258"/>
                  </a:cubicBezTo>
                  <a:cubicBezTo>
                    <a:pt x="917" y="257"/>
                    <a:pt x="916" y="256"/>
                    <a:pt x="915" y="255"/>
                  </a:cubicBezTo>
                  <a:cubicBezTo>
                    <a:pt x="916" y="256"/>
                    <a:pt x="917" y="256"/>
                    <a:pt x="917" y="256"/>
                  </a:cubicBezTo>
                  <a:cubicBezTo>
                    <a:pt x="918" y="256"/>
                    <a:pt x="918" y="257"/>
                    <a:pt x="918" y="257"/>
                  </a:cubicBezTo>
                  <a:cubicBezTo>
                    <a:pt x="920" y="259"/>
                    <a:pt x="921" y="257"/>
                    <a:pt x="922" y="255"/>
                  </a:cubicBezTo>
                  <a:cubicBezTo>
                    <a:pt x="922" y="254"/>
                    <a:pt x="921" y="251"/>
                    <a:pt x="921" y="249"/>
                  </a:cubicBezTo>
                  <a:cubicBezTo>
                    <a:pt x="921" y="248"/>
                    <a:pt x="918" y="244"/>
                    <a:pt x="918" y="243"/>
                  </a:cubicBezTo>
                  <a:cubicBezTo>
                    <a:pt x="918" y="240"/>
                    <a:pt x="917" y="239"/>
                    <a:pt x="916" y="236"/>
                  </a:cubicBezTo>
                  <a:cubicBezTo>
                    <a:pt x="915" y="234"/>
                    <a:pt x="911" y="233"/>
                    <a:pt x="910" y="231"/>
                  </a:cubicBezTo>
                  <a:cubicBezTo>
                    <a:pt x="909" y="230"/>
                    <a:pt x="909" y="230"/>
                    <a:pt x="908" y="230"/>
                  </a:cubicBezTo>
                  <a:cubicBezTo>
                    <a:pt x="908" y="230"/>
                    <a:pt x="907" y="230"/>
                    <a:pt x="907" y="230"/>
                  </a:cubicBezTo>
                  <a:cubicBezTo>
                    <a:pt x="907" y="231"/>
                    <a:pt x="905" y="227"/>
                    <a:pt x="905" y="227"/>
                  </a:cubicBezTo>
                  <a:cubicBezTo>
                    <a:pt x="904" y="224"/>
                    <a:pt x="904" y="222"/>
                    <a:pt x="903" y="220"/>
                  </a:cubicBezTo>
                  <a:cubicBezTo>
                    <a:pt x="903" y="219"/>
                    <a:pt x="902" y="218"/>
                    <a:pt x="902" y="218"/>
                  </a:cubicBezTo>
                  <a:cubicBezTo>
                    <a:pt x="898" y="218"/>
                    <a:pt x="901" y="216"/>
                    <a:pt x="900" y="214"/>
                  </a:cubicBezTo>
                  <a:cubicBezTo>
                    <a:pt x="899" y="213"/>
                    <a:pt x="897" y="214"/>
                    <a:pt x="898" y="212"/>
                  </a:cubicBezTo>
                  <a:cubicBezTo>
                    <a:pt x="898" y="211"/>
                    <a:pt x="893" y="208"/>
                    <a:pt x="892" y="206"/>
                  </a:cubicBezTo>
                  <a:cubicBezTo>
                    <a:pt x="892" y="206"/>
                    <a:pt x="892" y="206"/>
                    <a:pt x="892" y="206"/>
                  </a:cubicBezTo>
                  <a:cubicBezTo>
                    <a:pt x="893" y="207"/>
                    <a:pt x="893" y="207"/>
                    <a:pt x="893" y="207"/>
                  </a:cubicBezTo>
                  <a:cubicBezTo>
                    <a:pt x="897" y="208"/>
                    <a:pt x="904" y="214"/>
                    <a:pt x="906" y="212"/>
                  </a:cubicBezTo>
                  <a:cubicBezTo>
                    <a:pt x="907" y="212"/>
                    <a:pt x="907" y="211"/>
                    <a:pt x="907" y="210"/>
                  </a:cubicBezTo>
                  <a:cubicBezTo>
                    <a:pt x="907" y="210"/>
                    <a:pt x="902" y="205"/>
                    <a:pt x="904" y="205"/>
                  </a:cubicBezTo>
                  <a:cubicBezTo>
                    <a:pt x="905" y="205"/>
                    <a:pt x="905" y="205"/>
                    <a:pt x="906" y="205"/>
                  </a:cubicBezTo>
                  <a:cubicBezTo>
                    <a:pt x="907" y="204"/>
                    <a:pt x="913" y="211"/>
                    <a:pt x="914" y="212"/>
                  </a:cubicBezTo>
                  <a:cubicBezTo>
                    <a:pt x="916" y="212"/>
                    <a:pt x="921" y="209"/>
                    <a:pt x="918" y="212"/>
                  </a:cubicBezTo>
                  <a:cubicBezTo>
                    <a:pt x="917" y="213"/>
                    <a:pt x="915" y="214"/>
                    <a:pt x="916" y="215"/>
                  </a:cubicBezTo>
                  <a:cubicBezTo>
                    <a:pt x="917" y="216"/>
                    <a:pt x="920" y="215"/>
                    <a:pt x="921" y="215"/>
                  </a:cubicBezTo>
                  <a:cubicBezTo>
                    <a:pt x="922" y="215"/>
                    <a:pt x="923" y="214"/>
                    <a:pt x="924" y="214"/>
                  </a:cubicBezTo>
                  <a:cubicBezTo>
                    <a:pt x="925" y="213"/>
                    <a:pt x="926" y="212"/>
                    <a:pt x="927" y="212"/>
                  </a:cubicBezTo>
                  <a:cubicBezTo>
                    <a:pt x="927" y="212"/>
                    <a:pt x="927" y="212"/>
                    <a:pt x="927" y="212"/>
                  </a:cubicBezTo>
                  <a:cubicBezTo>
                    <a:pt x="926" y="213"/>
                    <a:pt x="925" y="213"/>
                    <a:pt x="924" y="214"/>
                  </a:cubicBezTo>
                  <a:cubicBezTo>
                    <a:pt x="923" y="215"/>
                    <a:pt x="919" y="215"/>
                    <a:pt x="919" y="218"/>
                  </a:cubicBezTo>
                  <a:cubicBezTo>
                    <a:pt x="919" y="219"/>
                    <a:pt x="919" y="220"/>
                    <a:pt x="919" y="222"/>
                  </a:cubicBezTo>
                  <a:cubicBezTo>
                    <a:pt x="919" y="223"/>
                    <a:pt x="923" y="226"/>
                    <a:pt x="922" y="226"/>
                  </a:cubicBezTo>
                  <a:cubicBezTo>
                    <a:pt x="923" y="228"/>
                    <a:pt x="926" y="228"/>
                    <a:pt x="928" y="230"/>
                  </a:cubicBezTo>
                  <a:cubicBezTo>
                    <a:pt x="930" y="231"/>
                    <a:pt x="931" y="235"/>
                    <a:pt x="934" y="235"/>
                  </a:cubicBezTo>
                  <a:cubicBezTo>
                    <a:pt x="935" y="235"/>
                    <a:pt x="936" y="234"/>
                    <a:pt x="936" y="232"/>
                  </a:cubicBezTo>
                  <a:cubicBezTo>
                    <a:pt x="937" y="230"/>
                    <a:pt x="934" y="225"/>
                    <a:pt x="936" y="223"/>
                  </a:cubicBezTo>
                  <a:cubicBezTo>
                    <a:pt x="938" y="225"/>
                    <a:pt x="940" y="226"/>
                    <a:pt x="944" y="226"/>
                  </a:cubicBezTo>
                  <a:cubicBezTo>
                    <a:pt x="944" y="226"/>
                    <a:pt x="944" y="225"/>
                    <a:pt x="944" y="225"/>
                  </a:cubicBezTo>
                  <a:cubicBezTo>
                    <a:pt x="945" y="223"/>
                    <a:pt x="943" y="221"/>
                    <a:pt x="946" y="221"/>
                  </a:cubicBezTo>
                  <a:cubicBezTo>
                    <a:pt x="948" y="221"/>
                    <a:pt x="950" y="222"/>
                    <a:pt x="950" y="220"/>
                  </a:cubicBezTo>
                  <a:cubicBezTo>
                    <a:pt x="951" y="220"/>
                    <a:pt x="951" y="220"/>
                    <a:pt x="950" y="220"/>
                  </a:cubicBezTo>
                  <a:cubicBezTo>
                    <a:pt x="950" y="219"/>
                    <a:pt x="950" y="219"/>
                    <a:pt x="950" y="219"/>
                  </a:cubicBezTo>
                  <a:cubicBezTo>
                    <a:pt x="948" y="217"/>
                    <a:pt x="952" y="218"/>
                    <a:pt x="953" y="218"/>
                  </a:cubicBezTo>
                  <a:cubicBezTo>
                    <a:pt x="954" y="218"/>
                    <a:pt x="955" y="218"/>
                    <a:pt x="956" y="217"/>
                  </a:cubicBezTo>
                  <a:cubicBezTo>
                    <a:pt x="956" y="217"/>
                    <a:pt x="956" y="217"/>
                    <a:pt x="956" y="217"/>
                  </a:cubicBezTo>
                  <a:cubicBezTo>
                    <a:pt x="953" y="213"/>
                    <a:pt x="959" y="216"/>
                    <a:pt x="958" y="212"/>
                  </a:cubicBezTo>
                  <a:close/>
                  <a:moveTo>
                    <a:pt x="661" y="8"/>
                  </a:moveTo>
                  <a:cubicBezTo>
                    <a:pt x="661" y="8"/>
                    <a:pt x="661" y="8"/>
                    <a:pt x="662" y="8"/>
                  </a:cubicBezTo>
                  <a:cubicBezTo>
                    <a:pt x="665" y="9"/>
                    <a:pt x="666" y="10"/>
                    <a:pt x="669" y="10"/>
                  </a:cubicBezTo>
                  <a:cubicBezTo>
                    <a:pt x="674" y="9"/>
                    <a:pt x="680" y="11"/>
                    <a:pt x="684" y="8"/>
                  </a:cubicBezTo>
                  <a:cubicBezTo>
                    <a:pt x="684" y="8"/>
                    <a:pt x="684" y="8"/>
                    <a:pt x="684" y="8"/>
                  </a:cubicBezTo>
                  <a:cubicBezTo>
                    <a:pt x="684" y="7"/>
                    <a:pt x="688" y="7"/>
                    <a:pt x="690" y="7"/>
                  </a:cubicBezTo>
                  <a:cubicBezTo>
                    <a:pt x="690" y="7"/>
                    <a:pt x="691" y="7"/>
                    <a:pt x="691" y="7"/>
                  </a:cubicBezTo>
                  <a:cubicBezTo>
                    <a:pt x="691" y="7"/>
                    <a:pt x="691" y="7"/>
                    <a:pt x="691" y="7"/>
                  </a:cubicBezTo>
                  <a:cubicBezTo>
                    <a:pt x="691" y="7"/>
                    <a:pt x="691" y="7"/>
                    <a:pt x="691" y="7"/>
                  </a:cubicBezTo>
                  <a:cubicBezTo>
                    <a:pt x="692" y="7"/>
                    <a:pt x="692" y="7"/>
                    <a:pt x="692" y="7"/>
                  </a:cubicBezTo>
                  <a:cubicBezTo>
                    <a:pt x="692" y="7"/>
                    <a:pt x="692" y="7"/>
                    <a:pt x="692" y="6"/>
                  </a:cubicBezTo>
                  <a:cubicBezTo>
                    <a:pt x="692" y="3"/>
                    <a:pt x="680" y="4"/>
                    <a:pt x="678" y="4"/>
                  </a:cubicBezTo>
                  <a:cubicBezTo>
                    <a:pt x="675" y="4"/>
                    <a:pt x="662" y="2"/>
                    <a:pt x="661" y="8"/>
                  </a:cubicBezTo>
                  <a:close/>
                  <a:moveTo>
                    <a:pt x="824" y="172"/>
                  </a:moveTo>
                  <a:cubicBezTo>
                    <a:pt x="824" y="174"/>
                    <a:pt x="826" y="176"/>
                    <a:pt x="828" y="176"/>
                  </a:cubicBezTo>
                  <a:cubicBezTo>
                    <a:pt x="831" y="176"/>
                    <a:pt x="835" y="177"/>
                    <a:pt x="838" y="177"/>
                  </a:cubicBezTo>
                  <a:cubicBezTo>
                    <a:pt x="840" y="177"/>
                    <a:pt x="841" y="176"/>
                    <a:pt x="842" y="175"/>
                  </a:cubicBezTo>
                  <a:cubicBezTo>
                    <a:pt x="843" y="174"/>
                    <a:pt x="844" y="172"/>
                    <a:pt x="845" y="171"/>
                  </a:cubicBezTo>
                  <a:cubicBezTo>
                    <a:pt x="846" y="170"/>
                    <a:pt x="848" y="168"/>
                    <a:pt x="847" y="166"/>
                  </a:cubicBezTo>
                  <a:cubicBezTo>
                    <a:pt x="845" y="164"/>
                    <a:pt x="839" y="160"/>
                    <a:pt x="836" y="161"/>
                  </a:cubicBezTo>
                  <a:cubicBezTo>
                    <a:pt x="836" y="160"/>
                    <a:pt x="836" y="160"/>
                    <a:pt x="836" y="160"/>
                  </a:cubicBezTo>
                  <a:cubicBezTo>
                    <a:pt x="832" y="161"/>
                    <a:pt x="830" y="163"/>
                    <a:pt x="828" y="165"/>
                  </a:cubicBezTo>
                  <a:cubicBezTo>
                    <a:pt x="826" y="167"/>
                    <a:pt x="823" y="169"/>
                    <a:pt x="824" y="172"/>
                  </a:cubicBezTo>
                  <a:close/>
                  <a:moveTo>
                    <a:pt x="1196" y="215"/>
                  </a:moveTo>
                  <a:cubicBezTo>
                    <a:pt x="1195" y="215"/>
                    <a:pt x="1195" y="214"/>
                    <a:pt x="1195" y="214"/>
                  </a:cubicBezTo>
                  <a:cubicBezTo>
                    <a:pt x="1195" y="214"/>
                    <a:pt x="1195" y="214"/>
                    <a:pt x="1195" y="214"/>
                  </a:cubicBezTo>
                  <a:cubicBezTo>
                    <a:pt x="1193" y="212"/>
                    <a:pt x="1191" y="211"/>
                    <a:pt x="1189" y="211"/>
                  </a:cubicBezTo>
                  <a:cubicBezTo>
                    <a:pt x="1189" y="211"/>
                    <a:pt x="1188" y="212"/>
                    <a:pt x="1189" y="212"/>
                  </a:cubicBezTo>
                  <a:cubicBezTo>
                    <a:pt x="1189" y="212"/>
                    <a:pt x="1189" y="212"/>
                    <a:pt x="1189" y="212"/>
                  </a:cubicBezTo>
                  <a:cubicBezTo>
                    <a:pt x="1189" y="212"/>
                    <a:pt x="1189" y="212"/>
                    <a:pt x="1189" y="212"/>
                  </a:cubicBezTo>
                  <a:cubicBezTo>
                    <a:pt x="1192" y="215"/>
                    <a:pt x="1194" y="217"/>
                    <a:pt x="1196" y="220"/>
                  </a:cubicBezTo>
                  <a:cubicBezTo>
                    <a:pt x="1196" y="220"/>
                    <a:pt x="1196" y="220"/>
                    <a:pt x="1196" y="220"/>
                  </a:cubicBezTo>
                  <a:cubicBezTo>
                    <a:pt x="1198" y="222"/>
                    <a:pt x="1199" y="224"/>
                    <a:pt x="1201" y="226"/>
                  </a:cubicBezTo>
                  <a:cubicBezTo>
                    <a:pt x="1202" y="227"/>
                    <a:pt x="1210" y="234"/>
                    <a:pt x="1211" y="231"/>
                  </a:cubicBezTo>
                  <a:cubicBezTo>
                    <a:pt x="1211" y="230"/>
                    <a:pt x="1210" y="228"/>
                    <a:pt x="1209" y="227"/>
                  </a:cubicBezTo>
                  <a:cubicBezTo>
                    <a:pt x="1207" y="225"/>
                    <a:pt x="1204" y="223"/>
                    <a:pt x="1202" y="221"/>
                  </a:cubicBezTo>
                  <a:cubicBezTo>
                    <a:pt x="1200" y="219"/>
                    <a:pt x="1198" y="217"/>
                    <a:pt x="1196" y="215"/>
                  </a:cubicBezTo>
                  <a:close/>
                  <a:moveTo>
                    <a:pt x="824" y="143"/>
                  </a:moveTo>
                  <a:cubicBezTo>
                    <a:pt x="822" y="144"/>
                    <a:pt x="819" y="144"/>
                    <a:pt x="816" y="146"/>
                  </a:cubicBezTo>
                  <a:cubicBezTo>
                    <a:pt x="816" y="147"/>
                    <a:pt x="814" y="148"/>
                    <a:pt x="814" y="149"/>
                  </a:cubicBezTo>
                  <a:cubicBezTo>
                    <a:pt x="814" y="151"/>
                    <a:pt x="817" y="150"/>
                    <a:pt x="818" y="150"/>
                  </a:cubicBezTo>
                  <a:cubicBezTo>
                    <a:pt x="821" y="150"/>
                    <a:pt x="826" y="148"/>
                    <a:pt x="828" y="145"/>
                  </a:cubicBezTo>
                  <a:cubicBezTo>
                    <a:pt x="829" y="144"/>
                    <a:pt x="829" y="143"/>
                    <a:pt x="829" y="142"/>
                  </a:cubicBezTo>
                  <a:cubicBezTo>
                    <a:pt x="828" y="141"/>
                    <a:pt x="826" y="142"/>
                    <a:pt x="824" y="143"/>
                  </a:cubicBezTo>
                  <a:close/>
                  <a:moveTo>
                    <a:pt x="962" y="54"/>
                  </a:moveTo>
                  <a:cubicBezTo>
                    <a:pt x="960" y="53"/>
                    <a:pt x="958" y="52"/>
                    <a:pt x="956" y="52"/>
                  </a:cubicBezTo>
                  <a:cubicBezTo>
                    <a:pt x="955" y="52"/>
                    <a:pt x="955" y="53"/>
                    <a:pt x="955" y="53"/>
                  </a:cubicBezTo>
                  <a:cubicBezTo>
                    <a:pt x="955" y="54"/>
                    <a:pt x="956" y="54"/>
                    <a:pt x="956" y="54"/>
                  </a:cubicBezTo>
                  <a:cubicBezTo>
                    <a:pt x="960" y="56"/>
                    <a:pt x="962" y="57"/>
                    <a:pt x="966" y="58"/>
                  </a:cubicBezTo>
                  <a:cubicBezTo>
                    <a:pt x="967" y="58"/>
                    <a:pt x="968" y="59"/>
                    <a:pt x="970" y="59"/>
                  </a:cubicBezTo>
                  <a:cubicBezTo>
                    <a:pt x="970" y="59"/>
                    <a:pt x="969" y="59"/>
                    <a:pt x="969" y="59"/>
                  </a:cubicBezTo>
                  <a:cubicBezTo>
                    <a:pt x="965" y="59"/>
                    <a:pt x="963" y="61"/>
                    <a:pt x="959" y="59"/>
                  </a:cubicBezTo>
                  <a:cubicBezTo>
                    <a:pt x="956" y="58"/>
                    <a:pt x="952" y="56"/>
                    <a:pt x="948" y="55"/>
                  </a:cubicBezTo>
                  <a:cubicBezTo>
                    <a:pt x="945" y="54"/>
                    <a:pt x="942" y="56"/>
                    <a:pt x="939" y="55"/>
                  </a:cubicBezTo>
                  <a:cubicBezTo>
                    <a:pt x="936" y="54"/>
                    <a:pt x="932" y="52"/>
                    <a:pt x="929" y="52"/>
                  </a:cubicBezTo>
                  <a:cubicBezTo>
                    <a:pt x="927" y="51"/>
                    <a:pt x="924" y="52"/>
                    <a:pt x="921" y="51"/>
                  </a:cubicBezTo>
                  <a:cubicBezTo>
                    <a:pt x="920" y="51"/>
                    <a:pt x="920" y="51"/>
                    <a:pt x="919" y="51"/>
                  </a:cubicBezTo>
                  <a:cubicBezTo>
                    <a:pt x="918" y="51"/>
                    <a:pt x="914" y="53"/>
                    <a:pt x="917" y="54"/>
                  </a:cubicBezTo>
                  <a:cubicBezTo>
                    <a:pt x="919" y="55"/>
                    <a:pt x="921" y="57"/>
                    <a:pt x="923" y="58"/>
                  </a:cubicBezTo>
                  <a:cubicBezTo>
                    <a:pt x="925" y="58"/>
                    <a:pt x="927" y="59"/>
                    <a:pt x="929" y="61"/>
                  </a:cubicBezTo>
                  <a:cubicBezTo>
                    <a:pt x="930" y="62"/>
                    <a:pt x="931" y="62"/>
                    <a:pt x="932" y="63"/>
                  </a:cubicBezTo>
                  <a:cubicBezTo>
                    <a:pt x="934" y="64"/>
                    <a:pt x="936" y="65"/>
                    <a:pt x="938" y="65"/>
                  </a:cubicBezTo>
                  <a:cubicBezTo>
                    <a:pt x="941" y="65"/>
                    <a:pt x="943" y="67"/>
                    <a:pt x="946" y="68"/>
                  </a:cubicBezTo>
                  <a:cubicBezTo>
                    <a:pt x="948" y="68"/>
                    <a:pt x="950" y="68"/>
                    <a:pt x="951" y="69"/>
                  </a:cubicBezTo>
                  <a:cubicBezTo>
                    <a:pt x="956" y="72"/>
                    <a:pt x="948" y="69"/>
                    <a:pt x="947" y="69"/>
                  </a:cubicBezTo>
                  <a:cubicBezTo>
                    <a:pt x="944" y="67"/>
                    <a:pt x="941" y="66"/>
                    <a:pt x="939" y="66"/>
                  </a:cubicBezTo>
                  <a:cubicBezTo>
                    <a:pt x="938" y="66"/>
                    <a:pt x="938" y="67"/>
                    <a:pt x="938" y="67"/>
                  </a:cubicBezTo>
                  <a:cubicBezTo>
                    <a:pt x="939" y="69"/>
                    <a:pt x="942" y="70"/>
                    <a:pt x="943" y="70"/>
                  </a:cubicBezTo>
                  <a:cubicBezTo>
                    <a:pt x="945" y="71"/>
                    <a:pt x="946" y="72"/>
                    <a:pt x="947" y="73"/>
                  </a:cubicBezTo>
                  <a:cubicBezTo>
                    <a:pt x="946" y="72"/>
                    <a:pt x="944" y="71"/>
                    <a:pt x="942" y="70"/>
                  </a:cubicBezTo>
                  <a:cubicBezTo>
                    <a:pt x="938" y="68"/>
                    <a:pt x="935" y="66"/>
                    <a:pt x="930" y="65"/>
                  </a:cubicBezTo>
                  <a:cubicBezTo>
                    <a:pt x="929" y="64"/>
                    <a:pt x="925" y="63"/>
                    <a:pt x="923" y="64"/>
                  </a:cubicBezTo>
                  <a:cubicBezTo>
                    <a:pt x="922" y="65"/>
                    <a:pt x="922" y="66"/>
                    <a:pt x="923" y="67"/>
                  </a:cubicBezTo>
                  <a:cubicBezTo>
                    <a:pt x="924" y="68"/>
                    <a:pt x="929" y="70"/>
                    <a:pt x="929" y="69"/>
                  </a:cubicBezTo>
                  <a:cubicBezTo>
                    <a:pt x="929" y="70"/>
                    <a:pt x="930" y="71"/>
                    <a:pt x="931" y="72"/>
                  </a:cubicBezTo>
                  <a:cubicBezTo>
                    <a:pt x="933" y="73"/>
                    <a:pt x="934" y="73"/>
                    <a:pt x="936" y="74"/>
                  </a:cubicBezTo>
                  <a:cubicBezTo>
                    <a:pt x="939" y="76"/>
                    <a:pt x="935" y="74"/>
                    <a:pt x="935" y="74"/>
                  </a:cubicBezTo>
                  <a:cubicBezTo>
                    <a:pt x="932" y="73"/>
                    <a:pt x="929" y="73"/>
                    <a:pt x="927" y="74"/>
                  </a:cubicBezTo>
                  <a:cubicBezTo>
                    <a:pt x="927" y="74"/>
                    <a:pt x="927" y="74"/>
                    <a:pt x="927" y="75"/>
                  </a:cubicBezTo>
                  <a:cubicBezTo>
                    <a:pt x="931" y="77"/>
                    <a:pt x="934" y="79"/>
                    <a:pt x="938" y="80"/>
                  </a:cubicBezTo>
                  <a:cubicBezTo>
                    <a:pt x="940" y="82"/>
                    <a:pt x="942" y="82"/>
                    <a:pt x="944" y="84"/>
                  </a:cubicBezTo>
                  <a:cubicBezTo>
                    <a:pt x="945" y="85"/>
                    <a:pt x="946" y="85"/>
                    <a:pt x="947" y="85"/>
                  </a:cubicBezTo>
                  <a:cubicBezTo>
                    <a:pt x="947" y="84"/>
                    <a:pt x="947" y="84"/>
                    <a:pt x="947" y="84"/>
                  </a:cubicBezTo>
                  <a:cubicBezTo>
                    <a:pt x="947" y="83"/>
                    <a:pt x="947" y="82"/>
                    <a:pt x="947" y="81"/>
                  </a:cubicBezTo>
                  <a:cubicBezTo>
                    <a:pt x="948" y="81"/>
                    <a:pt x="948" y="82"/>
                    <a:pt x="948" y="82"/>
                  </a:cubicBezTo>
                  <a:cubicBezTo>
                    <a:pt x="950" y="83"/>
                    <a:pt x="952" y="83"/>
                    <a:pt x="953" y="85"/>
                  </a:cubicBezTo>
                  <a:cubicBezTo>
                    <a:pt x="954" y="87"/>
                    <a:pt x="956" y="84"/>
                    <a:pt x="957" y="86"/>
                  </a:cubicBezTo>
                  <a:cubicBezTo>
                    <a:pt x="958" y="86"/>
                    <a:pt x="959" y="86"/>
                    <a:pt x="959" y="86"/>
                  </a:cubicBezTo>
                  <a:cubicBezTo>
                    <a:pt x="963" y="85"/>
                    <a:pt x="960" y="87"/>
                    <a:pt x="962" y="88"/>
                  </a:cubicBezTo>
                  <a:cubicBezTo>
                    <a:pt x="963" y="88"/>
                    <a:pt x="963" y="88"/>
                    <a:pt x="964" y="88"/>
                  </a:cubicBezTo>
                  <a:cubicBezTo>
                    <a:pt x="969" y="86"/>
                    <a:pt x="970" y="89"/>
                    <a:pt x="973" y="91"/>
                  </a:cubicBezTo>
                  <a:cubicBezTo>
                    <a:pt x="975" y="93"/>
                    <a:pt x="978" y="91"/>
                    <a:pt x="981" y="93"/>
                  </a:cubicBezTo>
                  <a:cubicBezTo>
                    <a:pt x="982" y="95"/>
                    <a:pt x="984" y="96"/>
                    <a:pt x="986" y="97"/>
                  </a:cubicBezTo>
                  <a:cubicBezTo>
                    <a:pt x="988" y="98"/>
                    <a:pt x="990" y="99"/>
                    <a:pt x="992" y="101"/>
                  </a:cubicBezTo>
                  <a:cubicBezTo>
                    <a:pt x="995" y="103"/>
                    <a:pt x="999" y="104"/>
                    <a:pt x="997" y="109"/>
                  </a:cubicBezTo>
                  <a:cubicBezTo>
                    <a:pt x="996" y="111"/>
                    <a:pt x="1001" y="112"/>
                    <a:pt x="1002" y="113"/>
                  </a:cubicBezTo>
                  <a:cubicBezTo>
                    <a:pt x="1003" y="114"/>
                    <a:pt x="1004" y="115"/>
                    <a:pt x="1004" y="116"/>
                  </a:cubicBezTo>
                  <a:cubicBezTo>
                    <a:pt x="1002" y="116"/>
                    <a:pt x="1001" y="116"/>
                    <a:pt x="1000" y="117"/>
                  </a:cubicBezTo>
                  <a:cubicBezTo>
                    <a:pt x="1000" y="117"/>
                    <a:pt x="1000" y="117"/>
                    <a:pt x="1000" y="117"/>
                  </a:cubicBezTo>
                  <a:cubicBezTo>
                    <a:pt x="1001" y="119"/>
                    <a:pt x="1003" y="119"/>
                    <a:pt x="1004" y="120"/>
                  </a:cubicBezTo>
                  <a:cubicBezTo>
                    <a:pt x="1005" y="120"/>
                    <a:pt x="1005" y="124"/>
                    <a:pt x="1006" y="125"/>
                  </a:cubicBezTo>
                  <a:cubicBezTo>
                    <a:pt x="1007" y="126"/>
                    <a:pt x="1008" y="126"/>
                    <a:pt x="1009" y="127"/>
                  </a:cubicBezTo>
                  <a:cubicBezTo>
                    <a:pt x="1010" y="128"/>
                    <a:pt x="1012" y="132"/>
                    <a:pt x="1012" y="133"/>
                  </a:cubicBezTo>
                  <a:cubicBezTo>
                    <a:pt x="1014" y="137"/>
                    <a:pt x="1011" y="137"/>
                    <a:pt x="1014" y="139"/>
                  </a:cubicBezTo>
                  <a:cubicBezTo>
                    <a:pt x="1015" y="139"/>
                    <a:pt x="1015" y="139"/>
                    <a:pt x="1016" y="140"/>
                  </a:cubicBezTo>
                  <a:cubicBezTo>
                    <a:pt x="1018" y="140"/>
                    <a:pt x="1018" y="140"/>
                    <a:pt x="1017" y="142"/>
                  </a:cubicBezTo>
                  <a:cubicBezTo>
                    <a:pt x="1015" y="141"/>
                    <a:pt x="1015" y="142"/>
                    <a:pt x="1014" y="143"/>
                  </a:cubicBezTo>
                  <a:cubicBezTo>
                    <a:pt x="1012" y="144"/>
                    <a:pt x="1014" y="147"/>
                    <a:pt x="1015" y="148"/>
                  </a:cubicBezTo>
                  <a:cubicBezTo>
                    <a:pt x="1016" y="149"/>
                    <a:pt x="1013" y="155"/>
                    <a:pt x="1012" y="155"/>
                  </a:cubicBezTo>
                  <a:cubicBezTo>
                    <a:pt x="1011" y="156"/>
                    <a:pt x="1011" y="158"/>
                    <a:pt x="1013" y="159"/>
                  </a:cubicBezTo>
                  <a:cubicBezTo>
                    <a:pt x="1015" y="160"/>
                    <a:pt x="1017" y="164"/>
                    <a:pt x="1020" y="164"/>
                  </a:cubicBezTo>
                  <a:cubicBezTo>
                    <a:pt x="1021" y="164"/>
                    <a:pt x="1024" y="164"/>
                    <a:pt x="1025" y="162"/>
                  </a:cubicBezTo>
                  <a:cubicBezTo>
                    <a:pt x="1025" y="162"/>
                    <a:pt x="1025" y="159"/>
                    <a:pt x="1026" y="160"/>
                  </a:cubicBezTo>
                  <a:cubicBezTo>
                    <a:pt x="1028" y="160"/>
                    <a:pt x="1031" y="161"/>
                    <a:pt x="1031" y="163"/>
                  </a:cubicBezTo>
                  <a:cubicBezTo>
                    <a:pt x="1031" y="164"/>
                    <a:pt x="1031" y="169"/>
                    <a:pt x="1032" y="169"/>
                  </a:cubicBezTo>
                  <a:cubicBezTo>
                    <a:pt x="1033" y="170"/>
                    <a:pt x="1035" y="171"/>
                    <a:pt x="1035" y="171"/>
                  </a:cubicBezTo>
                  <a:cubicBezTo>
                    <a:pt x="1035" y="172"/>
                    <a:pt x="1035" y="172"/>
                    <a:pt x="1036" y="173"/>
                  </a:cubicBezTo>
                  <a:cubicBezTo>
                    <a:pt x="1037" y="174"/>
                    <a:pt x="1037" y="175"/>
                    <a:pt x="1038" y="176"/>
                  </a:cubicBezTo>
                  <a:cubicBezTo>
                    <a:pt x="1038" y="177"/>
                    <a:pt x="1038" y="178"/>
                    <a:pt x="1037" y="177"/>
                  </a:cubicBezTo>
                  <a:cubicBezTo>
                    <a:pt x="1036" y="176"/>
                    <a:pt x="1035" y="175"/>
                    <a:pt x="1033" y="175"/>
                  </a:cubicBezTo>
                  <a:cubicBezTo>
                    <a:pt x="1027" y="173"/>
                    <a:pt x="1031" y="172"/>
                    <a:pt x="1028" y="171"/>
                  </a:cubicBezTo>
                  <a:cubicBezTo>
                    <a:pt x="1027" y="170"/>
                    <a:pt x="1024" y="170"/>
                    <a:pt x="1023" y="169"/>
                  </a:cubicBezTo>
                  <a:cubicBezTo>
                    <a:pt x="1021" y="168"/>
                    <a:pt x="1018" y="168"/>
                    <a:pt x="1016" y="170"/>
                  </a:cubicBezTo>
                  <a:cubicBezTo>
                    <a:pt x="1016" y="170"/>
                    <a:pt x="1016" y="170"/>
                    <a:pt x="1016" y="170"/>
                  </a:cubicBezTo>
                  <a:cubicBezTo>
                    <a:pt x="1017" y="172"/>
                    <a:pt x="1017" y="171"/>
                    <a:pt x="1019" y="172"/>
                  </a:cubicBezTo>
                  <a:cubicBezTo>
                    <a:pt x="1023" y="174"/>
                    <a:pt x="1020" y="175"/>
                    <a:pt x="1022" y="177"/>
                  </a:cubicBezTo>
                  <a:cubicBezTo>
                    <a:pt x="1022" y="177"/>
                    <a:pt x="1023" y="177"/>
                    <a:pt x="1024" y="178"/>
                  </a:cubicBezTo>
                  <a:cubicBezTo>
                    <a:pt x="1027" y="179"/>
                    <a:pt x="1029" y="180"/>
                    <a:pt x="1030" y="182"/>
                  </a:cubicBezTo>
                  <a:cubicBezTo>
                    <a:pt x="1033" y="185"/>
                    <a:pt x="1037" y="188"/>
                    <a:pt x="1040" y="189"/>
                  </a:cubicBezTo>
                  <a:cubicBezTo>
                    <a:pt x="1043" y="191"/>
                    <a:pt x="1046" y="191"/>
                    <a:pt x="1047" y="193"/>
                  </a:cubicBezTo>
                  <a:cubicBezTo>
                    <a:pt x="1045" y="194"/>
                    <a:pt x="1044" y="196"/>
                    <a:pt x="1041" y="197"/>
                  </a:cubicBezTo>
                  <a:cubicBezTo>
                    <a:pt x="1041" y="198"/>
                    <a:pt x="1041" y="198"/>
                    <a:pt x="1041" y="198"/>
                  </a:cubicBezTo>
                  <a:cubicBezTo>
                    <a:pt x="1042" y="202"/>
                    <a:pt x="1040" y="204"/>
                    <a:pt x="1036" y="204"/>
                  </a:cubicBezTo>
                  <a:cubicBezTo>
                    <a:pt x="1035" y="204"/>
                    <a:pt x="1033" y="204"/>
                    <a:pt x="1032" y="205"/>
                  </a:cubicBezTo>
                  <a:cubicBezTo>
                    <a:pt x="1032" y="206"/>
                    <a:pt x="1032" y="207"/>
                    <a:pt x="1033" y="208"/>
                  </a:cubicBezTo>
                  <a:cubicBezTo>
                    <a:pt x="1031" y="207"/>
                    <a:pt x="1029" y="206"/>
                    <a:pt x="1027" y="206"/>
                  </a:cubicBezTo>
                  <a:cubicBezTo>
                    <a:pt x="1027" y="206"/>
                    <a:pt x="1026" y="206"/>
                    <a:pt x="1026" y="206"/>
                  </a:cubicBezTo>
                  <a:cubicBezTo>
                    <a:pt x="1026" y="210"/>
                    <a:pt x="1023" y="214"/>
                    <a:pt x="1021" y="216"/>
                  </a:cubicBezTo>
                  <a:cubicBezTo>
                    <a:pt x="1018" y="219"/>
                    <a:pt x="1019" y="219"/>
                    <a:pt x="1022" y="222"/>
                  </a:cubicBezTo>
                  <a:cubicBezTo>
                    <a:pt x="1026" y="227"/>
                    <a:pt x="1021" y="228"/>
                    <a:pt x="1020" y="231"/>
                  </a:cubicBezTo>
                  <a:cubicBezTo>
                    <a:pt x="1019" y="234"/>
                    <a:pt x="1022" y="235"/>
                    <a:pt x="1022" y="238"/>
                  </a:cubicBezTo>
                  <a:cubicBezTo>
                    <a:pt x="1022" y="239"/>
                    <a:pt x="1022" y="239"/>
                    <a:pt x="1023" y="240"/>
                  </a:cubicBezTo>
                  <a:cubicBezTo>
                    <a:pt x="1026" y="241"/>
                    <a:pt x="1027" y="242"/>
                    <a:pt x="1028" y="245"/>
                  </a:cubicBezTo>
                  <a:cubicBezTo>
                    <a:pt x="1029" y="245"/>
                    <a:pt x="1031" y="246"/>
                    <a:pt x="1029" y="247"/>
                  </a:cubicBezTo>
                  <a:cubicBezTo>
                    <a:pt x="1029" y="248"/>
                    <a:pt x="1028" y="248"/>
                    <a:pt x="1028" y="249"/>
                  </a:cubicBezTo>
                  <a:cubicBezTo>
                    <a:pt x="1028" y="251"/>
                    <a:pt x="1029" y="253"/>
                    <a:pt x="1030" y="255"/>
                  </a:cubicBezTo>
                  <a:cubicBezTo>
                    <a:pt x="1031" y="258"/>
                    <a:pt x="1030" y="256"/>
                    <a:pt x="1030" y="258"/>
                  </a:cubicBezTo>
                  <a:cubicBezTo>
                    <a:pt x="1029" y="259"/>
                    <a:pt x="1030" y="260"/>
                    <a:pt x="1030" y="262"/>
                  </a:cubicBezTo>
                  <a:cubicBezTo>
                    <a:pt x="1030" y="267"/>
                    <a:pt x="1035" y="264"/>
                    <a:pt x="1038" y="264"/>
                  </a:cubicBezTo>
                  <a:cubicBezTo>
                    <a:pt x="1040" y="264"/>
                    <a:pt x="1044" y="260"/>
                    <a:pt x="1044" y="264"/>
                  </a:cubicBezTo>
                  <a:cubicBezTo>
                    <a:pt x="1044" y="265"/>
                    <a:pt x="1044" y="265"/>
                    <a:pt x="1044" y="266"/>
                  </a:cubicBezTo>
                  <a:cubicBezTo>
                    <a:pt x="1045" y="266"/>
                    <a:pt x="1045" y="267"/>
                    <a:pt x="1044" y="267"/>
                  </a:cubicBezTo>
                  <a:cubicBezTo>
                    <a:pt x="1041" y="267"/>
                    <a:pt x="1038" y="268"/>
                    <a:pt x="1035" y="268"/>
                  </a:cubicBezTo>
                  <a:cubicBezTo>
                    <a:pt x="1033" y="268"/>
                    <a:pt x="1035" y="272"/>
                    <a:pt x="1035" y="272"/>
                  </a:cubicBezTo>
                  <a:cubicBezTo>
                    <a:pt x="1036" y="274"/>
                    <a:pt x="1038" y="274"/>
                    <a:pt x="1038" y="276"/>
                  </a:cubicBezTo>
                  <a:cubicBezTo>
                    <a:pt x="1038" y="278"/>
                    <a:pt x="1038" y="280"/>
                    <a:pt x="1039" y="282"/>
                  </a:cubicBezTo>
                  <a:cubicBezTo>
                    <a:pt x="1040" y="283"/>
                    <a:pt x="1041" y="285"/>
                    <a:pt x="1043" y="286"/>
                  </a:cubicBezTo>
                  <a:cubicBezTo>
                    <a:pt x="1046" y="288"/>
                    <a:pt x="1045" y="289"/>
                    <a:pt x="1046" y="291"/>
                  </a:cubicBezTo>
                  <a:cubicBezTo>
                    <a:pt x="1047" y="296"/>
                    <a:pt x="1053" y="303"/>
                    <a:pt x="1051" y="307"/>
                  </a:cubicBezTo>
                  <a:cubicBezTo>
                    <a:pt x="1050" y="310"/>
                    <a:pt x="1053" y="312"/>
                    <a:pt x="1054" y="313"/>
                  </a:cubicBezTo>
                  <a:cubicBezTo>
                    <a:pt x="1056" y="314"/>
                    <a:pt x="1057" y="316"/>
                    <a:pt x="1058" y="317"/>
                  </a:cubicBezTo>
                  <a:cubicBezTo>
                    <a:pt x="1063" y="318"/>
                    <a:pt x="1063" y="319"/>
                    <a:pt x="1063" y="323"/>
                  </a:cubicBezTo>
                  <a:cubicBezTo>
                    <a:pt x="1062" y="326"/>
                    <a:pt x="1064" y="326"/>
                    <a:pt x="1066" y="326"/>
                  </a:cubicBezTo>
                  <a:cubicBezTo>
                    <a:pt x="1069" y="325"/>
                    <a:pt x="1072" y="323"/>
                    <a:pt x="1075" y="323"/>
                  </a:cubicBezTo>
                  <a:cubicBezTo>
                    <a:pt x="1075" y="323"/>
                    <a:pt x="1080" y="321"/>
                    <a:pt x="1079" y="323"/>
                  </a:cubicBezTo>
                  <a:cubicBezTo>
                    <a:pt x="1079" y="324"/>
                    <a:pt x="1079" y="325"/>
                    <a:pt x="1079" y="326"/>
                  </a:cubicBezTo>
                  <a:cubicBezTo>
                    <a:pt x="1079" y="328"/>
                    <a:pt x="1079" y="330"/>
                    <a:pt x="1079" y="332"/>
                  </a:cubicBezTo>
                  <a:cubicBezTo>
                    <a:pt x="1080" y="333"/>
                    <a:pt x="1082" y="334"/>
                    <a:pt x="1083" y="334"/>
                  </a:cubicBezTo>
                  <a:cubicBezTo>
                    <a:pt x="1085" y="336"/>
                    <a:pt x="1085" y="337"/>
                    <a:pt x="1086" y="338"/>
                  </a:cubicBezTo>
                  <a:cubicBezTo>
                    <a:pt x="1087" y="339"/>
                    <a:pt x="1089" y="339"/>
                    <a:pt x="1090" y="340"/>
                  </a:cubicBezTo>
                  <a:cubicBezTo>
                    <a:pt x="1092" y="342"/>
                    <a:pt x="1094" y="342"/>
                    <a:pt x="1095" y="345"/>
                  </a:cubicBezTo>
                  <a:cubicBezTo>
                    <a:pt x="1099" y="350"/>
                    <a:pt x="1106" y="335"/>
                    <a:pt x="1106" y="333"/>
                  </a:cubicBezTo>
                  <a:cubicBezTo>
                    <a:pt x="1107" y="332"/>
                    <a:pt x="1106" y="330"/>
                    <a:pt x="1106" y="328"/>
                  </a:cubicBezTo>
                  <a:cubicBezTo>
                    <a:pt x="1105" y="324"/>
                    <a:pt x="1107" y="323"/>
                    <a:pt x="1108" y="320"/>
                  </a:cubicBezTo>
                  <a:cubicBezTo>
                    <a:pt x="1109" y="317"/>
                    <a:pt x="1109" y="314"/>
                    <a:pt x="1108" y="312"/>
                  </a:cubicBezTo>
                  <a:cubicBezTo>
                    <a:pt x="1109" y="312"/>
                    <a:pt x="1111" y="311"/>
                    <a:pt x="1111" y="310"/>
                  </a:cubicBezTo>
                  <a:cubicBezTo>
                    <a:pt x="1114" y="306"/>
                    <a:pt x="1114" y="303"/>
                    <a:pt x="1118" y="300"/>
                  </a:cubicBezTo>
                  <a:cubicBezTo>
                    <a:pt x="1119" y="299"/>
                    <a:pt x="1121" y="295"/>
                    <a:pt x="1121" y="294"/>
                  </a:cubicBezTo>
                  <a:cubicBezTo>
                    <a:pt x="1121" y="292"/>
                    <a:pt x="1121" y="291"/>
                    <a:pt x="1120" y="290"/>
                  </a:cubicBezTo>
                  <a:cubicBezTo>
                    <a:pt x="1119" y="287"/>
                    <a:pt x="1120" y="287"/>
                    <a:pt x="1122" y="287"/>
                  </a:cubicBezTo>
                  <a:cubicBezTo>
                    <a:pt x="1124" y="287"/>
                    <a:pt x="1123" y="284"/>
                    <a:pt x="1123" y="284"/>
                  </a:cubicBezTo>
                  <a:cubicBezTo>
                    <a:pt x="1123" y="283"/>
                    <a:pt x="1122" y="279"/>
                    <a:pt x="1123" y="279"/>
                  </a:cubicBezTo>
                  <a:cubicBezTo>
                    <a:pt x="1123" y="278"/>
                    <a:pt x="1124" y="279"/>
                    <a:pt x="1124" y="278"/>
                  </a:cubicBezTo>
                  <a:cubicBezTo>
                    <a:pt x="1125" y="277"/>
                    <a:pt x="1124" y="272"/>
                    <a:pt x="1127" y="273"/>
                  </a:cubicBezTo>
                  <a:cubicBezTo>
                    <a:pt x="1129" y="274"/>
                    <a:pt x="1131" y="274"/>
                    <a:pt x="1132" y="275"/>
                  </a:cubicBezTo>
                  <a:cubicBezTo>
                    <a:pt x="1133" y="276"/>
                    <a:pt x="1133" y="276"/>
                    <a:pt x="1134" y="276"/>
                  </a:cubicBezTo>
                  <a:cubicBezTo>
                    <a:pt x="1136" y="276"/>
                    <a:pt x="1137" y="275"/>
                    <a:pt x="1138" y="272"/>
                  </a:cubicBezTo>
                  <a:cubicBezTo>
                    <a:pt x="1138" y="269"/>
                    <a:pt x="1139" y="272"/>
                    <a:pt x="1141" y="273"/>
                  </a:cubicBezTo>
                  <a:cubicBezTo>
                    <a:pt x="1144" y="274"/>
                    <a:pt x="1146" y="276"/>
                    <a:pt x="1150" y="276"/>
                  </a:cubicBezTo>
                  <a:cubicBezTo>
                    <a:pt x="1151" y="276"/>
                    <a:pt x="1152" y="276"/>
                    <a:pt x="1152" y="275"/>
                  </a:cubicBezTo>
                  <a:cubicBezTo>
                    <a:pt x="1154" y="274"/>
                    <a:pt x="1157" y="275"/>
                    <a:pt x="1158" y="274"/>
                  </a:cubicBezTo>
                  <a:cubicBezTo>
                    <a:pt x="1165" y="272"/>
                    <a:pt x="1164" y="262"/>
                    <a:pt x="1171" y="261"/>
                  </a:cubicBezTo>
                  <a:cubicBezTo>
                    <a:pt x="1172" y="260"/>
                    <a:pt x="1173" y="259"/>
                    <a:pt x="1172" y="257"/>
                  </a:cubicBezTo>
                  <a:cubicBezTo>
                    <a:pt x="1172" y="255"/>
                    <a:pt x="1171" y="253"/>
                    <a:pt x="1169" y="251"/>
                  </a:cubicBezTo>
                  <a:cubicBezTo>
                    <a:pt x="1170" y="252"/>
                    <a:pt x="1171" y="253"/>
                    <a:pt x="1171" y="253"/>
                  </a:cubicBezTo>
                  <a:cubicBezTo>
                    <a:pt x="1173" y="256"/>
                    <a:pt x="1174" y="257"/>
                    <a:pt x="1176" y="258"/>
                  </a:cubicBezTo>
                  <a:cubicBezTo>
                    <a:pt x="1181" y="261"/>
                    <a:pt x="1186" y="262"/>
                    <a:pt x="1192" y="262"/>
                  </a:cubicBezTo>
                  <a:cubicBezTo>
                    <a:pt x="1195" y="262"/>
                    <a:pt x="1198" y="263"/>
                    <a:pt x="1201" y="264"/>
                  </a:cubicBezTo>
                  <a:cubicBezTo>
                    <a:pt x="1203" y="264"/>
                    <a:pt x="1205" y="265"/>
                    <a:pt x="1206" y="264"/>
                  </a:cubicBezTo>
                  <a:cubicBezTo>
                    <a:pt x="1209" y="262"/>
                    <a:pt x="1212" y="260"/>
                    <a:pt x="1216" y="260"/>
                  </a:cubicBezTo>
                  <a:cubicBezTo>
                    <a:pt x="1217" y="259"/>
                    <a:pt x="1219" y="259"/>
                    <a:pt x="1220" y="258"/>
                  </a:cubicBezTo>
                  <a:cubicBezTo>
                    <a:pt x="1221" y="258"/>
                    <a:pt x="1221" y="258"/>
                    <a:pt x="1221" y="258"/>
                  </a:cubicBezTo>
                  <a:cubicBezTo>
                    <a:pt x="1220" y="256"/>
                    <a:pt x="1217" y="255"/>
                    <a:pt x="1216" y="254"/>
                  </a:cubicBezTo>
                  <a:cubicBezTo>
                    <a:pt x="1212" y="251"/>
                    <a:pt x="1209" y="250"/>
                    <a:pt x="1205" y="247"/>
                  </a:cubicBezTo>
                  <a:cubicBezTo>
                    <a:pt x="1204" y="247"/>
                    <a:pt x="1204" y="247"/>
                    <a:pt x="1203" y="247"/>
                  </a:cubicBezTo>
                  <a:cubicBezTo>
                    <a:pt x="1201" y="246"/>
                    <a:pt x="1199" y="245"/>
                    <a:pt x="1197" y="245"/>
                  </a:cubicBezTo>
                  <a:cubicBezTo>
                    <a:pt x="1194" y="245"/>
                    <a:pt x="1192" y="244"/>
                    <a:pt x="1191" y="243"/>
                  </a:cubicBezTo>
                  <a:cubicBezTo>
                    <a:pt x="1192" y="243"/>
                    <a:pt x="1193" y="243"/>
                    <a:pt x="1194" y="244"/>
                  </a:cubicBezTo>
                  <a:cubicBezTo>
                    <a:pt x="1195" y="244"/>
                    <a:pt x="1197" y="244"/>
                    <a:pt x="1198" y="244"/>
                  </a:cubicBezTo>
                  <a:cubicBezTo>
                    <a:pt x="1198" y="244"/>
                    <a:pt x="1199" y="243"/>
                    <a:pt x="1198" y="243"/>
                  </a:cubicBezTo>
                  <a:cubicBezTo>
                    <a:pt x="1197" y="242"/>
                    <a:pt x="1193" y="241"/>
                    <a:pt x="1191" y="240"/>
                  </a:cubicBezTo>
                  <a:cubicBezTo>
                    <a:pt x="1190" y="240"/>
                    <a:pt x="1189" y="238"/>
                    <a:pt x="1187" y="237"/>
                  </a:cubicBezTo>
                  <a:cubicBezTo>
                    <a:pt x="1186" y="237"/>
                    <a:pt x="1185" y="237"/>
                    <a:pt x="1184" y="237"/>
                  </a:cubicBezTo>
                  <a:cubicBezTo>
                    <a:pt x="1184" y="237"/>
                    <a:pt x="1184" y="237"/>
                    <a:pt x="1184" y="237"/>
                  </a:cubicBezTo>
                  <a:cubicBezTo>
                    <a:pt x="1185" y="237"/>
                    <a:pt x="1188" y="237"/>
                    <a:pt x="1188" y="235"/>
                  </a:cubicBezTo>
                  <a:cubicBezTo>
                    <a:pt x="1187" y="234"/>
                    <a:pt x="1187" y="233"/>
                    <a:pt x="1186" y="232"/>
                  </a:cubicBezTo>
                  <a:cubicBezTo>
                    <a:pt x="1187" y="232"/>
                    <a:pt x="1188" y="232"/>
                    <a:pt x="1189" y="233"/>
                  </a:cubicBezTo>
                  <a:cubicBezTo>
                    <a:pt x="1190" y="234"/>
                    <a:pt x="1191" y="234"/>
                    <a:pt x="1192" y="235"/>
                  </a:cubicBezTo>
                  <a:cubicBezTo>
                    <a:pt x="1194" y="236"/>
                    <a:pt x="1197" y="236"/>
                    <a:pt x="1198" y="236"/>
                  </a:cubicBezTo>
                  <a:cubicBezTo>
                    <a:pt x="1199" y="236"/>
                    <a:pt x="1199" y="235"/>
                    <a:pt x="1199" y="235"/>
                  </a:cubicBezTo>
                  <a:cubicBezTo>
                    <a:pt x="1198" y="235"/>
                    <a:pt x="1198" y="234"/>
                    <a:pt x="1198" y="234"/>
                  </a:cubicBezTo>
                  <a:cubicBezTo>
                    <a:pt x="1198" y="233"/>
                    <a:pt x="1195" y="231"/>
                    <a:pt x="1195" y="231"/>
                  </a:cubicBezTo>
                  <a:cubicBezTo>
                    <a:pt x="1193" y="230"/>
                    <a:pt x="1192" y="229"/>
                    <a:pt x="1190" y="228"/>
                  </a:cubicBezTo>
                  <a:cubicBezTo>
                    <a:pt x="1190" y="228"/>
                    <a:pt x="1190" y="228"/>
                    <a:pt x="1190" y="228"/>
                  </a:cubicBezTo>
                  <a:cubicBezTo>
                    <a:pt x="1189" y="227"/>
                    <a:pt x="1188" y="227"/>
                    <a:pt x="1187" y="227"/>
                  </a:cubicBezTo>
                  <a:cubicBezTo>
                    <a:pt x="1186" y="226"/>
                    <a:pt x="1183" y="227"/>
                    <a:pt x="1185" y="226"/>
                  </a:cubicBezTo>
                  <a:cubicBezTo>
                    <a:pt x="1186" y="225"/>
                    <a:pt x="1184" y="222"/>
                    <a:pt x="1184" y="222"/>
                  </a:cubicBezTo>
                  <a:cubicBezTo>
                    <a:pt x="1185" y="223"/>
                    <a:pt x="1187" y="224"/>
                    <a:pt x="1189" y="226"/>
                  </a:cubicBezTo>
                  <a:cubicBezTo>
                    <a:pt x="1191" y="228"/>
                    <a:pt x="1194" y="228"/>
                    <a:pt x="1195" y="230"/>
                  </a:cubicBezTo>
                  <a:cubicBezTo>
                    <a:pt x="1197" y="231"/>
                    <a:pt x="1201" y="234"/>
                    <a:pt x="1201" y="236"/>
                  </a:cubicBezTo>
                  <a:cubicBezTo>
                    <a:pt x="1201" y="239"/>
                    <a:pt x="1205" y="242"/>
                    <a:pt x="1207" y="245"/>
                  </a:cubicBezTo>
                  <a:cubicBezTo>
                    <a:pt x="1208" y="247"/>
                    <a:pt x="1212" y="252"/>
                    <a:pt x="1215" y="252"/>
                  </a:cubicBezTo>
                  <a:cubicBezTo>
                    <a:pt x="1217" y="253"/>
                    <a:pt x="1219" y="256"/>
                    <a:pt x="1221" y="256"/>
                  </a:cubicBezTo>
                  <a:cubicBezTo>
                    <a:pt x="1221" y="256"/>
                    <a:pt x="1221" y="256"/>
                    <a:pt x="1221" y="255"/>
                  </a:cubicBezTo>
                  <a:cubicBezTo>
                    <a:pt x="1222" y="250"/>
                    <a:pt x="1217" y="245"/>
                    <a:pt x="1214" y="241"/>
                  </a:cubicBezTo>
                  <a:cubicBezTo>
                    <a:pt x="1214" y="240"/>
                    <a:pt x="1213" y="239"/>
                    <a:pt x="1212" y="237"/>
                  </a:cubicBezTo>
                  <a:cubicBezTo>
                    <a:pt x="1211" y="236"/>
                    <a:pt x="1209" y="238"/>
                    <a:pt x="1209" y="234"/>
                  </a:cubicBezTo>
                  <a:cubicBezTo>
                    <a:pt x="1209" y="232"/>
                    <a:pt x="1206" y="231"/>
                    <a:pt x="1205" y="230"/>
                  </a:cubicBezTo>
                  <a:cubicBezTo>
                    <a:pt x="1203" y="229"/>
                    <a:pt x="1200" y="224"/>
                    <a:pt x="1198" y="223"/>
                  </a:cubicBezTo>
                  <a:cubicBezTo>
                    <a:pt x="1195" y="223"/>
                    <a:pt x="1194" y="223"/>
                    <a:pt x="1194" y="221"/>
                  </a:cubicBezTo>
                  <a:cubicBezTo>
                    <a:pt x="1194" y="219"/>
                    <a:pt x="1192" y="216"/>
                    <a:pt x="1190" y="216"/>
                  </a:cubicBezTo>
                  <a:cubicBezTo>
                    <a:pt x="1190" y="216"/>
                    <a:pt x="1190" y="215"/>
                    <a:pt x="1189" y="215"/>
                  </a:cubicBezTo>
                  <a:cubicBezTo>
                    <a:pt x="1189" y="215"/>
                    <a:pt x="1190" y="215"/>
                    <a:pt x="1190" y="215"/>
                  </a:cubicBezTo>
                  <a:cubicBezTo>
                    <a:pt x="1190" y="215"/>
                    <a:pt x="1190" y="214"/>
                    <a:pt x="1190" y="214"/>
                  </a:cubicBezTo>
                  <a:cubicBezTo>
                    <a:pt x="1189" y="213"/>
                    <a:pt x="1188" y="211"/>
                    <a:pt x="1186" y="210"/>
                  </a:cubicBezTo>
                  <a:cubicBezTo>
                    <a:pt x="1187" y="208"/>
                    <a:pt x="1189" y="208"/>
                    <a:pt x="1192" y="210"/>
                  </a:cubicBezTo>
                  <a:cubicBezTo>
                    <a:pt x="1193" y="211"/>
                    <a:pt x="1193" y="212"/>
                    <a:pt x="1194" y="213"/>
                  </a:cubicBezTo>
                  <a:cubicBezTo>
                    <a:pt x="1196" y="214"/>
                    <a:pt x="1197" y="215"/>
                    <a:pt x="1199" y="216"/>
                  </a:cubicBezTo>
                  <a:cubicBezTo>
                    <a:pt x="1200" y="218"/>
                    <a:pt x="1205" y="224"/>
                    <a:pt x="1208" y="222"/>
                  </a:cubicBezTo>
                  <a:cubicBezTo>
                    <a:pt x="1208" y="222"/>
                    <a:pt x="1208" y="222"/>
                    <a:pt x="1208" y="222"/>
                  </a:cubicBezTo>
                  <a:cubicBezTo>
                    <a:pt x="1207" y="219"/>
                    <a:pt x="1206" y="216"/>
                    <a:pt x="1203" y="215"/>
                  </a:cubicBezTo>
                  <a:cubicBezTo>
                    <a:pt x="1201" y="212"/>
                    <a:pt x="1198" y="212"/>
                    <a:pt x="1199" y="208"/>
                  </a:cubicBezTo>
                  <a:cubicBezTo>
                    <a:pt x="1199" y="207"/>
                    <a:pt x="1199" y="207"/>
                    <a:pt x="1200" y="207"/>
                  </a:cubicBezTo>
                  <a:cubicBezTo>
                    <a:pt x="1200" y="207"/>
                    <a:pt x="1200" y="206"/>
                    <a:pt x="1200" y="206"/>
                  </a:cubicBezTo>
                  <a:cubicBezTo>
                    <a:pt x="1200" y="204"/>
                    <a:pt x="1199" y="203"/>
                    <a:pt x="1198" y="202"/>
                  </a:cubicBezTo>
                  <a:cubicBezTo>
                    <a:pt x="1130" y="140"/>
                    <a:pt x="1051" y="90"/>
                    <a:pt x="964" y="55"/>
                  </a:cubicBezTo>
                  <a:cubicBezTo>
                    <a:pt x="964" y="54"/>
                    <a:pt x="963" y="54"/>
                    <a:pt x="962" y="54"/>
                  </a:cubicBezTo>
                  <a:close/>
                  <a:moveTo>
                    <a:pt x="1203" y="207"/>
                  </a:moveTo>
                  <a:cubicBezTo>
                    <a:pt x="1203" y="207"/>
                    <a:pt x="1203" y="207"/>
                    <a:pt x="1203" y="207"/>
                  </a:cubicBezTo>
                  <a:cubicBezTo>
                    <a:pt x="1202" y="208"/>
                    <a:pt x="1203" y="208"/>
                    <a:pt x="1203" y="208"/>
                  </a:cubicBezTo>
                  <a:cubicBezTo>
                    <a:pt x="1203" y="209"/>
                    <a:pt x="1203" y="209"/>
                    <a:pt x="1203" y="209"/>
                  </a:cubicBezTo>
                  <a:cubicBezTo>
                    <a:pt x="1203" y="209"/>
                    <a:pt x="1203" y="209"/>
                    <a:pt x="1203" y="209"/>
                  </a:cubicBezTo>
                  <a:cubicBezTo>
                    <a:pt x="1203" y="209"/>
                    <a:pt x="1203" y="209"/>
                    <a:pt x="1204" y="209"/>
                  </a:cubicBezTo>
                  <a:cubicBezTo>
                    <a:pt x="1204" y="209"/>
                    <a:pt x="1204" y="210"/>
                    <a:pt x="1204" y="210"/>
                  </a:cubicBezTo>
                  <a:cubicBezTo>
                    <a:pt x="1205" y="210"/>
                    <a:pt x="1205" y="210"/>
                    <a:pt x="1205" y="210"/>
                  </a:cubicBezTo>
                  <a:cubicBezTo>
                    <a:pt x="1206" y="211"/>
                    <a:pt x="1207" y="211"/>
                    <a:pt x="1207" y="212"/>
                  </a:cubicBezTo>
                  <a:cubicBezTo>
                    <a:pt x="1208" y="212"/>
                    <a:pt x="1208" y="212"/>
                    <a:pt x="1208" y="211"/>
                  </a:cubicBezTo>
                  <a:cubicBezTo>
                    <a:pt x="1207" y="210"/>
                    <a:pt x="1205" y="209"/>
                    <a:pt x="1204" y="207"/>
                  </a:cubicBezTo>
                  <a:cubicBezTo>
                    <a:pt x="1204" y="207"/>
                    <a:pt x="1203" y="207"/>
                    <a:pt x="1203" y="207"/>
                  </a:cubicBezTo>
                  <a:close/>
                  <a:moveTo>
                    <a:pt x="853" y="173"/>
                  </a:moveTo>
                  <a:cubicBezTo>
                    <a:pt x="853" y="173"/>
                    <a:pt x="854" y="174"/>
                    <a:pt x="854" y="174"/>
                  </a:cubicBezTo>
                  <a:cubicBezTo>
                    <a:pt x="855" y="174"/>
                    <a:pt x="857" y="174"/>
                    <a:pt x="857" y="173"/>
                  </a:cubicBezTo>
                  <a:cubicBezTo>
                    <a:pt x="859" y="172"/>
                    <a:pt x="858" y="170"/>
                    <a:pt x="856" y="169"/>
                  </a:cubicBezTo>
                  <a:cubicBezTo>
                    <a:pt x="855" y="167"/>
                    <a:pt x="852" y="167"/>
                    <a:pt x="850" y="167"/>
                  </a:cubicBezTo>
                  <a:cubicBezTo>
                    <a:pt x="849" y="167"/>
                    <a:pt x="849" y="168"/>
                    <a:pt x="849" y="168"/>
                  </a:cubicBezTo>
                  <a:cubicBezTo>
                    <a:pt x="849" y="170"/>
                    <a:pt x="849" y="171"/>
                    <a:pt x="850" y="171"/>
                  </a:cubicBezTo>
                  <a:cubicBezTo>
                    <a:pt x="851" y="172"/>
                    <a:pt x="852" y="172"/>
                    <a:pt x="853" y="173"/>
                  </a:cubicBezTo>
                  <a:close/>
                  <a:moveTo>
                    <a:pt x="996" y="527"/>
                  </a:moveTo>
                  <a:cubicBezTo>
                    <a:pt x="997" y="528"/>
                    <a:pt x="1002" y="529"/>
                    <a:pt x="1003" y="526"/>
                  </a:cubicBezTo>
                  <a:cubicBezTo>
                    <a:pt x="1003" y="522"/>
                    <a:pt x="1007" y="518"/>
                    <a:pt x="1005" y="513"/>
                  </a:cubicBezTo>
                  <a:cubicBezTo>
                    <a:pt x="1005" y="513"/>
                    <a:pt x="1004" y="513"/>
                    <a:pt x="1003" y="513"/>
                  </a:cubicBezTo>
                  <a:cubicBezTo>
                    <a:pt x="998" y="515"/>
                    <a:pt x="1001" y="512"/>
                    <a:pt x="1002" y="508"/>
                  </a:cubicBezTo>
                  <a:cubicBezTo>
                    <a:pt x="1002" y="508"/>
                    <a:pt x="1002" y="506"/>
                    <a:pt x="1000" y="507"/>
                  </a:cubicBezTo>
                  <a:cubicBezTo>
                    <a:pt x="998" y="508"/>
                    <a:pt x="997" y="510"/>
                    <a:pt x="995" y="512"/>
                  </a:cubicBezTo>
                  <a:cubicBezTo>
                    <a:pt x="995" y="511"/>
                    <a:pt x="994" y="509"/>
                    <a:pt x="994" y="508"/>
                  </a:cubicBezTo>
                  <a:cubicBezTo>
                    <a:pt x="994" y="505"/>
                    <a:pt x="995" y="503"/>
                    <a:pt x="998" y="502"/>
                  </a:cubicBezTo>
                  <a:cubicBezTo>
                    <a:pt x="999" y="501"/>
                    <a:pt x="1000" y="499"/>
                    <a:pt x="1001" y="498"/>
                  </a:cubicBezTo>
                  <a:cubicBezTo>
                    <a:pt x="1002" y="498"/>
                    <a:pt x="1002" y="497"/>
                    <a:pt x="1001" y="496"/>
                  </a:cubicBezTo>
                  <a:cubicBezTo>
                    <a:pt x="999" y="496"/>
                    <a:pt x="997" y="497"/>
                    <a:pt x="995" y="498"/>
                  </a:cubicBezTo>
                  <a:cubicBezTo>
                    <a:pt x="987" y="506"/>
                    <a:pt x="993" y="497"/>
                    <a:pt x="993" y="495"/>
                  </a:cubicBezTo>
                  <a:cubicBezTo>
                    <a:pt x="993" y="492"/>
                    <a:pt x="1003" y="483"/>
                    <a:pt x="993" y="483"/>
                  </a:cubicBezTo>
                  <a:cubicBezTo>
                    <a:pt x="989" y="483"/>
                    <a:pt x="985" y="483"/>
                    <a:pt x="981" y="483"/>
                  </a:cubicBezTo>
                  <a:cubicBezTo>
                    <a:pt x="973" y="482"/>
                    <a:pt x="974" y="480"/>
                    <a:pt x="977" y="475"/>
                  </a:cubicBezTo>
                  <a:cubicBezTo>
                    <a:pt x="980" y="470"/>
                    <a:pt x="971" y="471"/>
                    <a:pt x="969" y="472"/>
                  </a:cubicBezTo>
                  <a:cubicBezTo>
                    <a:pt x="968" y="473"/>
                    <a:pt x="966" y="475"/>
                    <a:pt x="965" y="476"/>
                  </a:cubicBezTo>
                  <a:cubicBezTo>
                    <a:pt x="959" y="481"/>
                    <a:pt x="969" y="468"/>
                    <a:pt x="970" y="467"/>
                  </a:cubicBezTo>
                  <a:cubicBezTo>
                    <a:pt x="971" y="466"/>
                    <a:pt x="974" y="465"/>
                    <a:pt x="975" y="464"/>
                  </a:cubicBezTo>
                  <a:cubicBezTo>
                    <a:pt x="976" y="463"/>
                    <a:pt x="979" y="457"/>
                    <a:pt x="979" y="457"/>
                  </a:cubicBezTo>
                  <a:cubicBezTo>
                    <a:pt x="981" y="455"/>
                    <a:pt x="982" y="448"/>
                    <a:pt x="977" y="451"/>
                  </a:cubicBezTo>
                  <a:cubicBezTo>
                    <a:pt x="973" y="452"/>
                    <a:pt x="966" y="454"/>
                    <a:pt x="964" y="457"/>
                  </a:cubicBezTo>
                  <a:cubicBezTo>
                    <a:pt x="962" y="463"/>
                    <a:pt x="958" y="468"/>
                    <a:pt x="955" y="473"/>
                  </a:cubicBezTo>
                  <a:cubicBezTo>
                    <a:pt x="953" y="475"/>
                    <a:pt x="947" y="486"/>
                    <a:pt x="947" y="486"/>
                  </a:cubicBezTo>
                  <a:cubicBezTo>
                    <a:pt x="943" y="487"/>
                    <a:pt x="938" y="490"/>
                    <a:pt x="936" y="493"/>
                  </a:cubicBezTo>
                  <a:cubicBezTo>
                    <a:pt x="935" y="493"/>
                    <a:pt x="935" y="494"/>
                    <a:pt x="936" y="494"/>
                  </a:cubicBezTo>
                  <a:cubicBezTo>
                    <a:pt x="936" y="496"/>
                    <a:pt x="938" y="496"/>
                    <a:pt x="939" y="496"/>
                  </a:cubicBezTo>
                  <a:cubicBezTo>
                    <a:pt x="936" y="500"/>
                    <a:pt x="932" y="504"/>
                    <a:pt x="937" y="508"/>
                  </a:cubicBezTo>
                  <a:cubicBezTo>
                    <a:pt x="938" y="509"/>
                    <a:pt x="941" y="509"/>
                    <a:pt x="942" y="509"/>
                  </a:cubicBezTo>
                  <a:cubicBezTo>
                    <a:pt x="947" y="508"/>
                    <a:pt x="946" y="509"/>
                    <a:pt x="952" y="509"/>
                  </a:cubicBezTo>
                  <a:cubicBezTo>
                    <a:pt x="956" y="509"/>
                    <a:pt x="961" y="508"/>
                    <a:pt x="965" y="509"/>
                  </a:cubicBezTo>
                  <a:cubicBezTo>
                    <a:pt x="970" y="510"/>
                    <a:pt x="972" y="512"/>
                    <a:pt x="977" y="512"/>
                  </a:cubicBezTo>
                  <a:cubicBezTo>
                    <a:pt x="980" y="512"/>
                    <a:pt x="974" y="518"/>
                    <a:pt x="973" y="518"/>
                  </a:cubicBezTo>
                  <a:cubicBezTo>
                    <a:pt x="973" y="520"/>
                    <a:pt x="971" y="520"/>
                    <a:pt x="970" y="522"/>
                  </a:cubicBezTo>
                  <a:cubicBezTo>
                    <a:pt x="970" y="523"/>
                    <a:pt x="970" y="523"/>
                    <a:pt x="971" y="523"/>
                  </a:cubicBezTo>
                  <a:cubicBezTo>
                    <a:pt x="977" y="526"/>
                    <a:pt x="981" y="517"/>
                    <a:pt x="986" y="516"/>
                  </a:cubicBezTo>
                  <a:cubicBezTo>
                    <a:pt x="987" y="516"/>
                    <a:pt x="988" y="515"/>
                    <a:pt x="988" y="514"/>
                  </a:cubicBezTo>
                  <a:cubicBezTo>
                    <a:pt x="988" y="517"/>
                    <a:pt x="987" y="523"/>
                    <a:pt x="987" y="524"/>
                  </a:cubicBezTo>
                  <a:cubicBezTo>
                    <a:pt x="987" y="524"/>
                    <a:pt x="988" y="525"/>
                    <a:pt x="988" y="525"/>
                  </a:cubicBezTo>
                  <a:cubicBezTo>
                    <a:pt x="991" y="525"/>
                    <a:pt x="997" y="519"/>
                    <a:pt x="993" y="524"/>
                  </a:cubicBezTo>
                  <a:cubicBezTo>
                    <a:pt x="992" y="525"/>
                    <a:pt x="994" y="527"/>
                    <a:pt x="996" y="527"/>
                  </a:cubicBezTo>
                  <a:close/>
                  <a:moveTo>
                    <a:pt x="1017" y="186"/>
                  </a:moveTo>
                  <a:cubicBezTo>
                    <a:pt x="1019" y="188"/>
                    <a:pt x="1020" y="190"/>
                    <a:pt x="1023" y="192"/>
                  </a:cubicBezTo>
                  <a:cubicBezTo>
                    <a:pt x="1025" y="192"/>
                    <a:pt x="1026" y="194"/>
                    <a:pt x="1028" y="194"/>
                  </a:cubicBezTo>
                  <a:cubicBezTo>
                    <a:pt x="1030" y="194"/>
                    <a:pt x="1031" y="194"/>
                    <a:pt x="1032" y="193"/>
                  </a:cubicBezTo>
                  <a:cubicBezTo>
                    <a:pt x="1034" y="194"/>
                    <a:pt x="1036" y="194"/>
                    <a:pt x="1037" y="193"/>
                  </a:cubicBezTo>
                  <a:cubicBezTo>
                    <a:pt x="1039" y="190"/>
                    <a:pt x="1036" y="190"/>
                    <a:pt x="1035" y="189"/>
                  </a:cubicBezTo>
                  <a:cubicBezTo>
                    <a:pt x="1032" y="186"/>
                    <a:pt x="1029" y="183"/>
                    <a:pt x="1025" y="180"/>
                  </a:cubicBezTo>
                  <a:cubicBezTo>
                    <a:pt x="1024" y="179"/>
                    <a:pt x="1021" y="178"/>
                    <a:pt x="1019" y="177"/>
                  </a:cubicBezTo>
                  <a:cubicBezTo>
                    <a:pt x="1019" y="176"/>
                    <a:pt x="1017" y="175"/>
                    <a:pt x="1016" y="175"/>
                  </a:cubicBezTo>
                  <a:cubicBezTo>
                    <a:pt x="1014" y="175"/>
                    <a:pt x="1013" y="177"/>
                    <a:pt x="1015" y="179"/>
                  </a:cubicBezTo>
                  <a:cubicBezTo>
                    <a:pt x="1017" y="181"/>
                    <a:pt x="1017" y="181"/>
                    <a:pt x="1016" y="184"/>
                  </a:cubicBezTo>
                  <a:cubicBezTo>
                    <a:pt x="1016" y="185"/>
                    <a:pt x="1016" y="186"/>
                    <a:pt x="1017" y="186"/>
                  </a:cubicBezTo>
                  <a:close/>
                  <a:moveTo>
                    <a:pt x="217" y="450"/>
                  </a:moveTo>
                  <a:cubicBezTo>
                    <a:pt x="218" y="456"/>
                    <a:pt x="227" y="459"/>
                    <a:pt x="232" y="459"/>
                  </a:cubicBezTo>
                  <a:cubicBezTo>
                    <a:pt x="232" y="459"/>
                    <a:pt x="232" y="459"/>
                    <a:pt x="233" y="459"/>
                  </a:cubicBezTo>
                  <a:cubicBezTo>
                    <a:pt x="235" y="454"/>
                    <a:pt x="234" y="447"/>
                    <a:pt x="233" y="443"/>
                  </a:cubicBezTo>
                  <a:cubicBezTo>
                    <a:pt x="232" y="440"/>
                    <a:pt x="231" y="439"/>
                    <a:pt x="229" y="437"/>
                  </a:cubicBezTo>
                  <a:cubicBezTo>
                    <a:pt x="227" y="436"/>
                    <a:pt x="227" y="433"/>
                    <a:pt x="226" y="431"/>
                  </a:cubicBezTo>
                  <a:cubicBezTo>
                    <a:pt x="224" y="429"/>
                    <a:pt x="225" y="424"/>
                    <a:pt x="224" y="423"/>
                  </a:cubicBezTo>
                  <a:cubicBezTo>
                    <a:pt x="222" y="421"/>
                    <a:pt x="219" y="421"/>
                    <a:pt x="217" y="421"/>
                  </a:cubicBezTo>
                  <a:cubicBezTo>
                    <a:pt x="213" y="419"/>
                    <a:pt x="210" y="414"/>
                    <a:pt x="205" y="415"/>
                  </a:cubicBezTo>
                  <a:cubicBezTo>
                    <a:pt x="203" y="414"/>
                    <a:pt x="204" y="414"/>
                    <a:pt x="202" y="414"/>
                  </a:cubicBezTo>
                  <a:cubicBezTo>
                    <a:pt x="201" y="414"/>
                    <a:pt x="201" y="414"/>
                    <a:pt x="201" y="415"/>
                  </a:cubicBezTo>
                  <a:cubicBezTo>
                    <a:pt x="201" y="418"/>
                    <a:pt x="203" y="421"/>
                    <a:pt x="203" y="424"/>
                  </a:cubicBezTo>
                  <a:cubicBezTo>
                    <a:pt x="202" y="425"/>
                    <a:pt x="201" y="428"/>
                    <a:pt x="202" y="430"/>
                  </a:cubicBezTo>
                  <a:cubicBezTo>
                    <a:pt x="203" y="431"/>
                    <a:pt x="204" y="433"/>
                    <a:pt x="206" y="433"/>
                  </a:cubicBezTo>
                  <a:cubicBezTo>
                    <a:pt x="209" y="434"/>
                    <a:pt x="208" y="436"/>
                    <a:pt x="209" y="437"/>
                  </a:cubicBezTo>
                  <a:cubicBezTo>
                    <a:pt x="211" y="439"/>
                    <a:pt x="212" y="444"/>
                    <a:pt x="214" y="445"/>
                  </a:cubicBezTo>
                  <a:cubicBezTo>
                    <a:pt x="214" y="446"/>
                    <a:pt x="215" y="447"/>
                    <a:pt x="216" y="447"/>
                  </a:cubicBezTo>
                  <a:cubicBezTo>
                    <a:pt x="218" y="448"/>
                    <a:pt x="216" y="449"/>
                    <a:pt x="217" y="450"/>
                  </a:cubicBezTo>
                  <a:close/>
                  <a:moveTo>
                    <a:pt x="674" y="810"/>
                  </a:moveTo>
                  <a:cubicBezTo>
                    <a:pt x="673" y="810"/>
                    <a:pt x="672" y="810"/>
                    <a:pt x="671" y="810"/>
                  </a:cubicBezTo>
                  <a:cubicBezTo>
                    <a:pt x="670" y="810"/>
                    <a:pt x="669" y="810"/>
                    <a:pt x="668" y="811"/>
                  </a:cubicBezTo>
                  <a:cubicBezTo>
                    <a:pt x="667" y="811"/>
                    <a:pt x="666" y="812"/>
                    <a:pt x="665" y="813"/>
                  </a:cubicBezTo>
                  <a:cubicBezTo>
                    <a:pt x="664" y="815"/>
                    <a:pt x="667" y="818"/>
                    <a:pt x="669" y="817"/>
                  </a:cubicBezTo>
                  <a:cubicBezTo>
                    <a:pt x="670" y="817"/>
                    <a:pt x="671" y="816"/>
                    <a:pt x="672" y="815"/>
                  </a:cubicBezTo>
                  <a:cubicBezTo>
                    <a:pt x="672" y="815"/>
                    <a:pt x="673" y="813"/>
                    <a:pt x="674" y="814"/>
                  </a:cubicBezTo>
                  <a:cubicBezTo>
                    <a:pt x="674" y="814"/>
                    <a:pt x="675" y="815"/>
                    <a:pt x="676" y="815"/>
                  </a:cubicBezTo>
                  <a:cubicBezTo>
                    <a:pt x="678" y="813"/>
                    <a:pt x="676" y="809"/>
                    <a:pt x="674" y="810"/>
                  </a:cubicBezTo>
                  <a:close/>
                  <a:moveTo>
                    <a:pt x="683" y="824"/>
                  </a:moveTo>
                  <a:cubicBezTo>
                    <a:pt x="683" y="825"/>
                    <a:pt x="685" y="825"/>
                    <a:pt x="685" y="824"/>
                  </a:cubicBezTo>
                  <a:cubicBezTo>
                    <a:pt x="685" y="822"/>
                    <a:pt x="690" y="820"/>
                    <a:pt x="688" y="817"/>
                  </a:cubicBezTo>
                  <a:cubicBezTo>
                    <a:pt x="687" y="815"/>
                    <a:pt x="686" y="814"/>
                    <a:pt x="685" y="812"/>
                  </a:cubicBezTo>
                  <a:cubicBezTo>
                    <a:pt x="684" y="811"/>
                    <a:pt x="683" y="810"/>
                    <a:pt x="681" y="810"/>
                  </a:cubicBezTo>
                  <a:cubicBezTo>
                    <a:pt x="680" y="810"/>
                    <a:pt x="680" y="812"/>
                    <a:pt x="681" y="812"/>
                  </a:cubicBezTo>
                  <a:cubicBezTo>
                    <a:pt x="682" y="812"/>
                    <a:pt x="683" y="813"/>
                    <a:pt x="683" y="814"/>
                  </a:cubicBezTo>
                  <a:cubicBezTo>
                    <a:pt x="683" y="815"/>
                    <a:pt x="683" y="815"/>
                    <a:pt x="683" y="815"/>
                  </a:cubicBezTo>
                  <a:cubicBezTo>
                    <a:pt x="684" y="817"/>
                    <a:pt x="684" y="818"/>
                    <a:pt x="683" y="819"/>
                  </a:cubicBezTo>
                  <a:cubicBezTo>
                    <a:pt x="683" y="821"/>
                    <a:pt x="683" y="822"/>
                    <a:pt x="683" y="824"/>
                  </a:cubicBezTo>
                  <a:close/>
                  <a:moveTo>
                    <a:pt x="671" y="844"/>
                  </a:moveTo>
                  <a:cubicBezTo>
                    <a:pt x="673" y="845"/>
                    <a:pt x="676" y="844"/>
                    <a:pt x="676" y="841"/>
                  </a:cubicBezTo>
                  <a:cubicBezTo>
                    <a:pt x="676" y="840"/>
                    <a:pt x="675" y="839"/>
                    <a:pt x="675" y="838"/>
                  </a:cubicBezTo>
                  <a:cubicBezTo>
                    <a:pt x="674" y="837"/>
                    <a:pt x="674" y="836"/>
                    <a:pt x="673" y="835"/>
                  </a:cubicBezTo>
                  <a:cubicBezTo>
                    <a:pt x="673" y="834"/>
                    <a:pt x="671" y="835"/>
                    <a:pt x="671" y="835"/>
                  </a:cubicBezTo>
                  <a:cubicBezTo>
                    <a:pt x="670" y="835"/>
                    <a:pt x="670" y="836"/>
                    <a:pt x="670" y="836"/>
                  </a:cubicBezTo>
                  <a:cubicBezTo>
                    <a:pt x="670" y="836"/>
                    <a:pt x="670" y="836"/>
                    <a:pt x="670" y="836"/>
                  </a:cubicBezTo>
                  <a:cubicBezTo>
                    <a:pt x="670" y="837"/>
                    <a:pt x="670" y="838"/>
                    <a:pt x="670" y="838"/>
                  </a:cubicBezTo>
                  <a:cubicBezTo>
                    <a:pt x="670" y="838"/>
                    <a:pt x="670" y="839"/>
                    <a:pt x="670" y="839"/>
                  </a:cubicBezTo>
                  <a:cubicBezTo>
                    <a:pt x="669" y="840"/>
                    <a:pt x="669" y="842"/>
                    <a:pt x="671" y="844"/>
                  </a:cubicBezTo>
                  <a:close/>
                  <a:moveTo>
                    <a:pt x="679" y="848"/>
                  </a:moveTo>
                  <a:cubicBezTo>
                    <a:pt x="678" y="847"/>
                    <a:pt x="677" y="846"/>
                    <a:pt x="676" y="847"/>
                  </a:cubicBezTo>
                  <a:cubicBezTo>
                    <a:pt x="675" y="847"/>
                    <a:pt x="675" y="848"/>
                    <a:pt x="674" y="849"/>
                  </a:cubicBezTo>
                  <a:cubicBezTo>
                    <a:pt x="673" y="850"/>
                    <a:pt x="672" y="852"/>
                    <a:pt x="672" y="854"/>
                  </a:cubicBezTo>
                  <a:cubicBezTo>
                    <a:pt x="673" y="857"/>
                    <a:pt x="676" y="859"/>
                    <a:pt x="678" y="856"/>
                  </a:cubicBezTo>
                  <a:cubicBezTo>
                    <a:pt x="678" y="855"/>
                    <a:pt x="678" y="853"/>
                    <a:pt x="678" y="852"/>
                  </a:cubicBezTo>
                  <a:cubicBezTo>
                    <a:pt x="678" y="851"/>
                    <a:pt x="678" y="850"/>
                    <a:pt x="678" y="850"/>
                  </a:cubicBezTo>
                  <a:cubicBezTo>
                    <a:pt x="679" y="849"/>
                    <a:pt x="679" y="849"/>
                    <a:pt x="679" y="848"/>
                  </a:cubicBezTo>
                  <a:close/>
                  <a:moveTo>
                    <a:pt x="702" y="843"/>
                  </a:moveTo>
                  <a:cubicBezTo>
                    <a:pt x="702" y="843"/>
                    <a:pt x="702" y="843"/>
                    <a:pt x="702" y="843"/>
                  </a:cubicBezTo>
                  <a:cubicBezTo>
                    <a:pt x="702" y="842"/>
                    <a:pt x="701" y="842"/>
                    <a:pt x="700" y="843"/>
                  </a:cubicBezTo>
                  <a:cubicBezTo>
                    <a:pt x="700" y="845"/>
                    <a:pt x="701" y="845"/>
                    <a:pt x="702" y="847"/>
                  </a:cubicBezTo>
                  <a:cubicBezTo>
                    <a:pt x="702" y="847"/>
                    <a:pt x="702" y="847"/>
                    <a:pt x="702" y="848"/>
                  </a:cubicBezTo>
                  <a:cubicBezTo>
                    <a:pt x="702" y="848"/>
                    <a:pt x="702" y="849"/>
                    <a:pt x="702" y="849"/>
                  </a:cubicBezTo>
                  <a:cubicBezTo>
                    <a:pt x="702" y="850"/>
                    <a:pt x="703" y="852"/>
                    <a:pt x="704" y="853"/>
                  </a:cubicBezTo>
                  <a:cubicBezTo>
                    <a:pt x="705" y="853"/>
                    <a:pt x="706" y="853"/>
                    <a:pt x="706" y="853"/>
                  </a:cubicBezTo>
                  <a:cubicBezTo>
                    <a:pt x="706" y="852"/>
                    <a:pt x="706" y="852"/>
                    <a:pt x="706" y="852"/>
                  </a:cubicBezTo>
                  <a:cubicBezTo>
                    <a:pt x="707" y="851"/>
                    <a:pt x="707" y="849"/>
                    <a:pt x="706" y="847"/>
                  </a:cubicBezTo>
                  <a:cubicBezTo>
                    <a:pt x="705" y="846"/>
                    <a:pt x="704" y="843"/>
                    <a:pt x="702" y="843"/>
                  </a:cubicBezTo>
                  <a:close/>
                  <a:moveTo>
                    <a:pt x="696" y="841"/>
                  </a:moveTo>
                  <a:cubicBezTo>
                    <a:pt x="696" y="839"/>
                    <a:pt x="697" y="836"/>
                    <a:pt x="695" y="834"/>
                  </a:cubicBezTo>
                  <a:cubicBezTo>
                    <a:pt x="694" y="833"/>
                    <a:pt x="693" y="831"/>
                    <a:pt x="691" y="832"/>
                  </a:cubicBezTo>
                  <a:cubicBezTo>
                    <a:pt x="690" y="832"/>
                    <a:pt x="690" y="832"/>
                    <a:pt x="690" y="833"/>
                  </a:cubicBezTo>
                  <a:cubicBezTo>
                    <a:pt x="690" y="833"/>
                    <a:pt x="690" y="833"/>
                    <a:pt x="690" y="833"/>
                  </a:cubicBezTo>
                  <a:cubicBezTo>
                    <a:pt x="690" y="834"/>
                    <a:pt x="692" y="834"/>
                    <a:pt x="692" y="834"/>
                  </a:cubicBezTo>
                  <a:cubicBezTo>
                    <a:pt x="692" y="834"/>
                    <a:pt x="693" y="834"/>
                    <a:pt x="693" y="834"/>
                  </a:cubicBezTo>
                  <a:cubicBezTo>
                    <a:pt x="693" y="835"/>
                    <a:pt x="694" y="835"/>
                    <a:pt x="694" y="835"/>
                  </a:cubicBezTo>
                  <a:cubicBezTo>
                    <a:pt x="695" y="837"/>
                    <a:pt x="694" y="839"/>
                    <a:pt x="694" y="840"/>
                  </a:cubicBezTo>
                  <a:cubicBezTo>
                    <a:pt x="694" y="842"/>
                    <a:pt x="696" y="842"/>
                    <a:pt x="696" y="841"/>
                  </a:cubicBezTo>
                  <a:close/>
                  <a:moveTo>
                    <a:pt x="607" y="885"/>
                  </a:moveTo>
                  <a:cubicBezTo>
                    <a:pt x="608" y="886"/>
                    <a:pt x="609" y="885"/>
                    <a:pt x="610" y="885"/>
                  </a:cubicBezTo>
                  <a:cubicBezTo>
                    <a:pt x="611" y="884"/>
                    <a:pt x="612" y="884"/>
                    <a:pt x="612" y="883"/>
                  </a:cubicBezTo>
                  <a:cubicBezTo>
                    <a:pt x="613" y="881"/>
                    <a:pt x="612" y="880"/>
                    <a:pt x="611" y="879"/>
                  </a:cubicBezTo>
                  <a:cubicBezTo>
                    <a:pt x="609" y="878"/>
                    <a:pt x="607" y="878"/>
                    <a:pt x="605" y="879"/>
                  </a:cubicBezTo>
                  <a:cubicBezTo>
                    <a:pt x="605" y="880"/>
                    <a:pt x="604" y="881"/>
                    <a:pt x="605" y="882"/>
                  </a:cubicBezTo>
                  <a:cubicBezTo>
                    <a:pt x="605" y="882"/>
                    <a:pt x="605" y="882"/>
                    <a:pt x="606" y="882"/>
                  </a:cubicBezTo>
                  <a:cubicBezTo>
                    <a:pt x="606" y="883"/>
                    <a:pt x="606" y="883"/>
                    <a:pt x="606" y="883"/>
                  </a:cubicBezTo>
                  <a:cubicBezTo>
                    <a:pt x="606" y="883"/>
                    <a:pt x="606" y="883"/>
                    <a:pt x="606" y="883"/>
                  </a:cubicBezTo>
                  <a:cubicBezTo>
                    <a:pt x="606" y="884"/>
                    <a:pt x="606" y="885"/>
                    <a:pt x="607" y="885"/>
                  </a:cubicBezTo>
                  <a:close/>
                  <a:moveTo>
                    <a:pt x="796" y="930"/>
                  </a:moveTo>
                  <a:cubicBezTo>
                    <a:pt x="793" y="937"/>
                    <a:pt x="799" y="934"/>
                    <a:pt x="803" y="934"/>
                  </a:cubicBezTo>
                  <a:cubicBezTo>
                    <a:pt x="806" y="933"/>
                    <a:pt x="809" y="934"/>
                    <a:pt x="811" y="934"/>
                  </a:cubicBezTo>
                  <a:cubicBezTo>
                    <a:pt x="812" y="935"/>
                    <a:pt x="814" y="935"/>
                    <a:pt x="815" y="935"/>
                  </a:cubicBezTo>
                  <a:cubicBezTo>
                    <a:pt x="816" y="934"/>
                    <a:pt x="822" y="931"/>
                    <a:pt x="822" y="930"/>
                  </a:cubicBezTo>
                  <a:cubicBezTo>
                    <a:pt x="824" y="925"/>
                    <a:pt x="817" y="925"/>
                    <a:pt x="814" y="926"/>
                  </a:cubicBezTo>
                  <a:cubicBezTo>
                    <a:pt x="810" y="926"/>
                    <a:pt x="805" y="925"/>
                    <a:pt x="802" y="927"/>
                  </a:cubicBezTo>
                  <a:cubicBezTo>
                    <a:pt x="799" y="928"/>
                    <a:pt x="800" y="931"/>
                    <a:pt x="798" y="932"/>
                  </a:cubicBezTo>
                  <a:cubicBezTo>
                    <a:pt x="798" y="933"/>
                    <a:pt x="798" y="933"/>
                    <a:pt x="798" y="933"/>
                  </a:cubicBezTo>
                  <a:cubicBezTo>
                    <a:pt x="797" y="933"/>
                    <a:pt x="797" y="932"/>
                    <a:pt x="797" y="931"/>
                  </a:cubicBezTo>
                  <a:cubicBezTo>
                    <a:pt x="798" y="930"/>
                    <a:pt x="797" y="930"/>
                    <a:pt x="796" y="930"/>
                  </a:cubicBezTo>
                  <a:close/>
                  <a:moveTo>
                    <a:pt x="861" y="1033"/>
                  </a:moveTo>
                  <a:cubicBezTo>
                    <a:pt x="864" y="1032"/>
                    <a:pt x="868" y="1035"/>
                    <a:pt x="870" y="1032"/>
                  </a:cubicBezTo>
                  <a:cubicBezTo>
                    <a:pt x="872" y="1030"/>
                    <a:pt x="872" y="1025"/>
                    <a:pt x="870" y="1024"/>
                  </a:cubicBezTo>
                  <a:cubicBezTo>
                    <a:pt x="869" y="1022"/>
                    <a:pt x="865" y="1022"/>
                    <a:pt x="864" y="1024"/>
                  </a:cubicBezTo>
                  <a:cubicBezTo>
                    <a:pt x="863" y="1025"/>
                    <a:pt x="863" y="1027"/>
                    <a:pt x="863" y="1028"/>
                  </a:cubicBezTo>
                  <a:cubicBezTo>
                    <a:pt x="862" y="1029"/>
                    <a:pt x="860" y="1029"/>
                    <a:pt x="860" y="1031"/>
                  </a:cubicBezTo>
                  <a:cubicBezTo>
                    <a:pt x="860" y="1031"/>
                    <a:pt x="860" y="1031"/>
                    <a:pt x="860" y="1031"/>
                  </a:cubicBezTo>
                  <a:cubicBezTo>
                    <a:pt x="859" y="1032"/>
                    <a:pt x="860" y="1034"/>
                    <a:pt x="861" y="1033"/>
                  </a:cubicBezTo>
                  <a:close/>
                  <a:moveTo>
                    <a:pt x="698" y="909"/>
                  </a:moveTo>
                  <a:cubicBezTo>
                    <a:pt x="700" y="909"/>
                    <a:pt x="699" y="909"/>
                    <a:pt x="701" y="908"/>
                  </a:cubicBezTo>
                  <a:cubicBezTo>
                    <a:pt x="703" y="907"/>
                    <a:pt x="707" y="907"/>
                    <a:pt x="709" y="907"/>
                  </a:cubicBezTo>
                  <a:cubicBezTo>
                    <a:pt x="711" y="907"/>
                    <a:pt x="713" y="906"/>
                    <a:pt x="715" y="905"/>
                  </a:cubicBezTo>
                  <a:cubicBezTo>
                    <a:pt x="717" y="903"/>
                    <a:pt x="714" y="901"/>
                    <a:pt x="712" y="900"/>
                  </a:cubicBezTo>
                  <a:cubicBezTo>
                    <a:pt x="710" y="899"/>
                    <a:pt x="709" y="896"/>
                    <a:pt x="707" y="896"/>
                  </a:cubicBezTo>
                  <a:cubicBezTo>
                    <a:pt x="705" y="895"/>
                    <a:pt x="702" y="895"/>
                    <a:pt x="699" y="895"/>
                  </a:cubicBezTo>
                  <a:cubicBezTo>
                    <a:pt x="696" y="895"/>
                    <a:pt x="700" y="894"/>
                    <a:pt x="700" y="893"/>
                  </a:cubicBezTo>
                  <a:cubicBezTo>
                    <a:pt x="701" y="892"/>
                    <a:pt x="701" y="892"/>
                    <a:pt x="700" y="891"/>
                  </a:cubicBezTo>
                  <a:cubicBezTo>
                    <a:pt x="700" y="890"/>
                    <a:pt x="698" y="891"/>
                    <a:pt x="697" y="891"/>
                  </a:cubicBezTo>
                  <a:cubicBezTo>
                    <a:pt x="693" y="891"/>
                    <a:pt x="689" y="888"/>
                    <a:pt x="685" y="886"/>
                  </a:cubicBezTo>
                  <a:cubicBezTo>
                    <a:pt x="680" y="884"/>
                    <a:pt x="678" y="879"/>
                    <a:pt x="673" y="878"/>
                  </a:cubicBezTo>
                  <a:cubicBezTo>
                    <a:pt x="670" y="878"/>
                    <a:pt x="667" y="875"/>
                    <a:pt x="664" y="874"/>
                  </a:cubicBezTo>
                  <a:cubicBezTo>
                    <a:pt x="661" y="873"/>
                    <a:pt x="657" y="873"/>
                    <a:pt x="653" y="873"/>
                  </a:cubicBezTo>
                  <a:cubicBezTo>
                    <a:pt x="651" y="872"/>
                    <a:pt x="650" y="869"/>
                    <a:pt x="648" y="867"/>
                  </a:cubicBezTo>
                  <a:cubicBezTo>
                    <a:pt x="645" y="866"/>
                    <a:pt x="642" y="865"/>
                    <a:pt x="639" y="865"/>
                  </a:cubicBezTo>
                  <a:cubicBezTo>
                    <a:pt x="636" y="864"/>
                    <a:pt x="633" y="865"/>
                    <a:pt x="630" y="865"/>
                  </a:cubicBezTo>
                  <a:cubicBezTo>
                    <a:pt x="627" y="865"/>
                    <a:pt x="622" y="862"/>
                    <a:pt x="620" y="861"/>
                  </a:cubicBezTo>
                  <a:cubicBezTo>
                    <a:pt x="616" y="860"/>
                    <a:pt x="612" y="862"/>
                    <a:pt x="609" y="863"/>
                  </a:cubicBezTo>
                  <a:cubicBezTo>
                    <a:pt x="605" y="864"/>
                    <a:pt x="601" y="866"/>
                    <a:pt x="598" y="867"/>
                  </a:cubicBezTo>
                  <a:cubicBezTo>
                    <a:pt x="595" y="867"/>
                    <a:pt x="592" y="869"/>
                    <a:pt x="590" y="871"/>
                  </a:cubicBezTo>
                  <a:cubicBezTo>
                    <a:pt x="588" y="873"/>
                    <a:pt x="588" y="874"/>
                    <a:pt x="586" y="876"/>
                  </a:cubicBezTo>
                  <a:cubicBezTo>
                    <a:pt x="584" y="877"/>
                    <a:pt x="583" y="877"/>
                    <a:pt x="582" y="878"/>
                  </a:cubicBezTo>
                  <a:cubicBezTo>
                    <a:pt x="582" y="879"/>
                    <a:pt x="582" y="879"/>
                    <a:pt x="582" y="879"/>
                  </a:cubicBezTo>
                  <a:cubicBezTo>
                    <a:pt x="585" y="881"/>
                    <a:pt x="588" y="880"/>
                    <a:pt x="590" y="878"/>
                  </a:cubicBezTo>
                  <a:cubicBezTo>
                    <a:pt x="592" y="877"/>
                    <a:pt x="594" y="877"/>
                    <a:pt x="596" y="877"/>
                  </a:cubicBezTo>
                  <a:cubicBezTo>
                    <a:pt x="596" y="878"/>
                    <a:pt x="597" y="878"/>
                    <a:pt x="598" y="878"/>
                  </a:cubicBezTo>
                  <a:cubicBezTo>
                    <a:pt x="601" y="876"/>
                    <a:pt x="603" y="874"/>
                    <a:pt x="606" y="873"/>
                  </a:cubicBezTo>
                  <a:cubicBezTo>
                    <a:pt x="609" y="873"/>
                    <a:pt x="608" y="870"/>
                    <a:pt x="612" y="870"/>
                  </a:cubicBezTo>
                  <a:cubicBezTo>
                    <a:pt x="614" y="870"/>
                    <a:pt x="617" y="872"/>
                    <a:pt x="620" y="872"/>
                  </a:cubicBezTo>
                  <a:cubicBezTo>
                    <a:pt x="617" y="872"/>
                    <a:pt x="616" y="874"/>
                    <a:pt x="616" y="876"/>
                  </a:cubicBezTo>
                  <a:cubicBezTo>
                    <a:pt x="616" y="876"/>
                    <a:pt x="617" y="876"/>
                    <a:pt x="617" y="876"/>
                  </a:cubicBezTo>
                  <a:cubicBezTo>
                    <a:pt x="618" y="876"/>
                    <a:pt x="620" y="876"/>
                    <a:pt x="622" y="876"/>
                  </a:cubicBezTo>
                  <a:cubicBezTo>
                    <a:pt x="625" y="876"/>
                    <a:pt x="628" y="877"/>
                    <a:pt x="632" y="878"/>
                  </a:cubicBezTo>
                  <a:cubicBezTo>
                    <a:pt x="635" y="878"/>
                    <a:pt x="637" y="877"/>
                    <a:pt x="640" y="879"/>
                  </a:cubicBezTo>
                  <a:cubicBezTo>
                    <a:pt x="641" y="880"/>
                    <a:pt x="641" y="880"/>
                    <a:pt x="642" y="880"/>
                  </a:cubicBezTo>
                  <a:cubicBezTo>
                    <a:pt x="642" y="884"/>
                    <a:pt x="645" y="883"/>
                    <a:pt x="648" y="883"/>
                  </a:cubicBezTo>
                  <a:cubicBezTo>
                    <a:pt x="652" y="883"/>
                    <a:pt x="657" y="882"/>
                    <a:pt x="658" y="886"/>
                  </a:cubicBezTo>
                  <a:cubicBezTo>
                    <a:pt x="658" y="888"/>
                    <a:pt x="660" y="889"/>
                    <a:pt x="661" y="889"/>
                  </a:cubicBezTo>
                  <a:cubicBezTo>
                    <a:pt x="664" y="890"/>
                    <a:pt x="663" y="898"/>
                    <a:pt x="667" y="897"/>
                  </a:cubicBezTo>
                  <a:cubicBezTo>
                    <a:pt x="671" y="897"/>
                    <a:pt x="674" y="897"/>
                    <a:pt x="677" y="899"/>
                  </a:cubicBezTo>
                  <a:cubicBezTo>
                    <a:pt x="678" y="899"/>
                    <a:pt x="683" y="902"/>
                    <a:pt x="679" y="903"/>
                  </a:cubicBezTo>
                  <a:cubicBezTo>
                    <a:pt x="677" y="903"/>
                    <a:pt x="676" y="904"/>
                    <a:pt x="675" y="905"/>
                  </a:cubicBezTo>
                  <a:cubicBezTo>
                    <a:pt x="674" y="905"/>
                    <a:pt x="670" y="907"/>
                    <a:pt x="672" y="909"/>
                  </a:cubicBezTo>
                  <a:cubicBezTo>
                    <a:pt x="673" y="910"/>
                    <a:pt x="678" y="909"/>
                    <a:pt x="681" y="908"/>
                  </a:cubicBezTo>
                  <a:cubicBezTo>
                    <a:pt x="683" y="908"/>
                    <a:pt x="684" y="907"/>
                    <a:pt x="687" y="907"/>
                  </a:cubicBezTo>
                  <a:cubicBezTo>
                    <a:pt x="688" y="907"/>
                    <a:pt x="690" y="908"/>
                    <a:pt x="691" y="908"/>
                  </a:cubicBezTo>
                  <a:cubicBezTo>
                    <a:pt x="693" y="909"/>
                    <a:pt x="696" y="910"/>
                    <a:pt x="698" y="909"/>
                  </a:cubicBezTo>
                  <a:close/>
                  <a:moveTo>
                    <a:pt x="706" y="858"/>
                  </a:moveTo>
                  <a:cubicBezTo>
                    <a:pt x="705" y="857"/>
                    <a:pt x="705" y="857"/>
                    <a:pt x="705" y="858"/>
                  </a:cubicBezTo>
                  <a:cubicBezTo>
                    <a:pt x="704" y="858"/>
                    <a:pt x="704" y="858"/>
                    <a:pt x="704" y="858"/>
                  </a:cubicBezTo>
                  <a:cubicBezTo>
                    <a:pt x="704" y="857"/>
                    <a:pt x="703" y="858"/>
                    <a:pt x="703" y="859"/>
                  </a:cubicBezTo>
                  <a:cubicBezTo>
                    <a:pt x="703" y="859"/>
                    <a:pt x="703" y="859"/>
                    <a:pt x="703" y="859"/>
                  </a:cubicBezTo>
                  <a:cubicBezTo>
                    <a:pt x="703" y="860"/>
                    <a:pt x="703" y="860"/>
                    <a:pt x="704" y="860"/>
                  </a:cubicBezTo>
                  <a:cubicBezTo>
                    <a:pt x="704" y="861"/>
                    <a:pt x="704" y="863"/>
                    <a:pt x="705" y="864"/>
                  </a:cubicBezTo>
                  <a:cubicBezTo>
                    <a:pt x="705" y="865"/>
                    <a:pt x="707" y="867"/>
                    <a:pt x="708" y="866"/>
                  </a:cubicBezTo>
                  <a:cubicBezTo>
                    <a:pt x="710" y="865"/>
                    <a:pt x="709" y="863"/>
                    <a:pt x="708" y="862"/>
                  </a:cubicBezTo>
                  <a:cubicBezTo>
                    <a:pt x="708" y="861"/>
                    <a:pt x="708" y="861"/>
                    <a:pt x="707" y="860"/>
                  </a:cubicBezTo>
                  <a:cubicBezTo>
                    <a:pt x="707" y="859"/>
                    <a:pt x="707" y="858"/>
                    <a:pt x="706" y="858"/>
                  </a:cubicBezTo>
                  <a:close/>
                  <a:moveTo>
                    <a:pt x="681" y="925"/>
                  </a:moveTo>
                  <a:cubicBezTo>
                    <a:pt x="678" y="922"/>
                    <a:pt x="674" y="923"/>
                    <a:pt x="671" y="925"/>
                  </a:cubicBezTo>
                  <a:cubicBezTo>
                    <a:pt x="671" y="925"/>
                    <a:pt x="671" y="925"/>
                    <a:pt x="671" y="925"/>
                  </a:cubicBezTo>
                  <a:cubicBezTo>
                    <a:pt x="670" y="925"/>
                    <a:pt x="670" y="925"/>
                    <a:pt x="670" y="926"/>
                  </a:cubicBezTo>
                  <a:cubicBezTo>
                    <a:pt x="667" y="926"/>
                    <a:pt x="664" y="925"/>
                    <a:pt x="662" y="926"/>
                  </a:cubicBezTo>
                  <a:cubicBezTo>
                    <a:pt x="660" y="927"/>
                    <a:pt x="660" y="928"/>
                    <a:pt x="661" y="929"/>
                  </a:cubicBezTo>
                  <a:cubicBezTo>
                    <a:pt x="662" y="932"/>
                    <a:pt x="666" y="934"/>
                    <a:pt x="669" y="935"/>
                  </a:cubicBezTo>
                  <a:cubicBezTo>
                    <a:pt x="672" y="936"/>
                    <a:pt x="674" y="939"/>
                    <a:pt x="677" y="937"/>
                  </a:cubicBezTo>
                  <a:cubicBezTo>
                    <a:pt x="678" y="937"/>
                    <a:pt x="693" y="935"/>
                    <a:pt x="689" y="931"/>
                  </a:cubicBezTo>
                  <a:cubicBezTo>
                    <a:pt x="688" y="930"/>
                    <a:pt x="687" y="930"/>
                    <a:pt x="686" y="930"/>
                  </a:cubicBezTo>
                  <a:cubicBezTo>
                    <a:pt x="685" y="930"/>
                    <a:pt x="682" y="926"/>
                    <a:pt x="681" y="925"/>
                  </a:cubicBezTo>
                  <a:close/>
                  <a:moveTo>
                    <a:pt x="1433" y="645"/>
                  </a:moveTo>
                  <a:cubicBezTo>
                    <a:pt x="1433" y="647"/>
                    <a:pt x="1432" y="649"/>
                    <a:pt x="1432" y="650"/>
                  </a:cubicBezTo>
                  <a:cubicBezTo>
                    <a:pt x="1432" y="652"/>
                    <a:pt x="1433" y="653"/>
                    <a:pt x="1433" y="655"/>
                  </a:cubicBezTo>
                  <a:cubicBezTo>
                    <a:pt x="1434" y="656"/>
                    <a:pt x="1434" y="660"/>
                    <a:pt x="1435" y="660"/>
                  </a:cubicBezTo>
                  <a:cubicBezTo>
                    <a:pt x="1436" y="660"/>
                    <a:pt x="1436" y="660"/>
                    <a:pt x="1436" y="660"/>
                  </a:cubicBezTo>
                  <a:cubicBezTo>
                    <a:pt x="1436" y="657"/>
                    <a:pt x="1436" y="654"/>
                    <a:pt x="1436" y="651"/>
                  </a:cubicBezTo>
                  <a:cubicBezTo>
                    <a:pt x="1435" y="649"/>
                    <a:pt x="1436" y="645"/>
                    <a:pt x="1435" y="643"/>
                  </a:cubicBezTo>
                  <a:cubicBezTo>
                    <a:pt x="1434" y="643"/>
                    <a:pt x="1434" y="643"/>
                    <a:pt x="1434" y="643"/>
                  </a:cubicBezTo>
                  <a:cubicBezTo>
                    <a:pt x="1433" y="643"/>
                    <a:pt x="1433" y="644"/>
                    <a:pt x="1434" y="644"/>
                  </a:cubicBezTo>
                  <a:cubicBezTo>
                    <a:pt x="1434" y="644"/>
                    <a:pt x="1434" y="644"/>
                    <a:pt x="1434" y="645"/>
                  </a:cubicBezTo>
                  <a:cubicBezTo>
                    <a:pt x="1434" y="644"/>
                    <a:pt x="1433" y="644"/>
                    <a:pt x="1433" y="645"/>
                  </a:cubicBezTo>
                  <a:close/>
                  <a:moveTo>
                    <a:pt x="1343" y="452"/>
                  </a:moveTo>
                  <a:cubicBezTo>
                    <a:pt x="1343" y="453"/>
                    <a:pt x="1343" y="453"/>
                    <a:pt x="1344" y="453"/>
                  </a:cubicBezTo>
                  <a:cubicBezTo>
                    <a:pt x="1344" y="453"/>
                    <a:pt x="1344" y="454"/>
                    <a:pt x="1344" y="454"/>
                  </a:cubicBezTo>
                  <a:cubicBezTo>
                    <a:pt x="1344" y="455"/>
                    <a:pt x="1344" y="456"/>
                    <a:pt x="1345" y="456"/>
                  </a:cubicBezTo>
                  <a:cubicBezTo>
                    <a:pt x="1345" y="457"/>
                    <a:pt x="1346" y="458"/>
                    <a:pt x="1346" y="459"/>
                  </a:cubicBezTo>
                  <a:cubicBezTo>
                    <a:pt x="1347" y="459"/>
                    <a:pt x="1347" y="459"/>
                    <a:pt x="1347" y="458"/>
                  </a:cubicBezTo>
                  <a:cubicBezTo>
                    <a:pt x="1347" y="457"/>
                    <a:pt x="1347" y="457"/>
                    <a:pt x="1346" y="456"/>
                  </a:cubicBezTo>
                  <a:cubicBezTo>
                    <a:pt x="1346" y="454"/>
                    <a:pt x="1346" y="453"/>
                    <a:pt x="1345" y="452"/>
                  </a:cubicBezTo>
                  <a:cubicBezTo>
                    <a:pt x="1344" y="452"/>
                    <a:pt x="1343" y="449"/>
                    <a:pt x="1342" y="451"/>
                  </a:cubicBezTo>
                  <a:cubicBezTo>
                    <a:pt x="1342" y="451"/>
                    <a:pt x="1342" y="451"/>
                    <a:pt x="1342" y="451"/>
                  </a:cubicBezTo>
                  <a:cubicBezTo>
                    <a:pt x="1342" y="451"/>
                    <a:pt x="1342" y="451"/>
                    <a:pt x="1342" y="451"/>
                  </a:cubicBezTo>
                  <a:cubicBezTo>
                    <a:pt x="1342" y="452"/>
                    <a:pt x="1342" y="452"/>
                    <a:pt x="1343" y="452"/>
                  </a:cubicBezTo>
                  <a:close/>
                  <a:moveTo>
                    <a:pt x="1343" y="439"/>
                  </a:moveTo>
                  <a:cubicBezTo>
                    <a:pt x="1342" y="439"/>
                    <a:pt x="1342" y="439"/>
                    <a:pt x="1341" y="440"/>
                  </a:cubicBezTo>
                  <a:cubicBezTo>
                    <a:pt x="1341" y="440"/>
                    <a:pt x="1340" y="441"/>
                    <a:pt x="1340" y="441"/>
                  </a:cubicBezTo>
                  <a:cubicBezTo>
                    <a:pt x="1340" y="442"/>
                    <a:pt x="1339" y="442"/>
                    <a:pt x="1338" y="443"/>
                  </a:cubicBezTo>
                  <a:cubicBezTo>
                    <a:pt x="1338" y="444"/>
                    <a:pt x="1338" y="445"/>
                    <a:pt x="1339" y="445"/>
                  </a:cubicBezTo>
                  <a:cubicBezTo>
                    <a:pt x="1340" y="446"/>
                    <a:pt x="1340" y="446"/>
                    <a:pt x="1340" y="447"/>
                  </a:cubicBezTo>
                  <a:cubicBezTo>
                    <a:pt x="1340" y="447"/>
                    <a:pt x="1340" y="448"/>
                    <a:pt x="1341" y="448"/>
                  </a:cubicBezTo>
                  <a:cubicBezTo>
                    <a:pt x="1341" y="448"/>
                    <a:pt x="1342" y="448"/>
                    <a:pt x="1341" y="447"/>
                  </a:cubicBezTo>
                  <a:cubicBezTo>
                    <a:pt x="1341" y="447"/>
                    <a:pt x="1341" y="447"/>
                    <a:pt x="1341" y="447"/>
                  </a:cubicBezTo>
                  <a:cubicBezTo>
                    <a:pt x="1343" y="446"/>
                    <a:pt x="1343" y="444"/>
                    <a:pt x="1343" y="442"/>
                  </a:cubicBezTo>
                  <a:cubicBezTo>
                    <a:pt x="1343" y="441"/>
                    <a:pt x="1344" y="440"/>
                    <a:pt x="1343" y="439"/>
                  </a:cubicBezTo>
                  <a:close/>
                  <a:moveTo>
                    <a:pt x="712" y="931"/>
                  </a:moveTo>
                  <a:cubicBezTo>
                    <a:pt x="713" y="932"/>
                    <a:pt x="714" y="934"/>
                    <a:pt x="716" y="934"/>
                  </a:cubicBezTo>
                  <a:cubicBezTo>
                    <a:pt x="716" y="934"/>
                    <a:pt x="716" y="934"/>
                    <a:pt x="716" y="934"/>
                  </a:cubicBezTo>
                  <a:cubicBezTo>
                    <a:pt x="721" y="930"/>
                    <a:pt x="726" y="933"/>
                    <a:pt x="731" y="933"/>
                  </a:cubicBezTo>
                  <a:cubicBezTo>
                    <a:pt x="733" y="933"/>
                    <a:pt x="735" y="932"/>
                    <a:pt x="737" y="932"/>
                  </a:cubicBezTo>
                  <a:cubicBezTo>
                    <a:pt x="740" y="932"/>
                    <a:pt x="741" y="935"/>
                    <a:pt x="742" y="937"/>
                  </a:cubicBezTo>
                  <a:cubicBezTo>
                    <a:pt x="743" y="938"/>
                    <a:pt x="746" y="937"/>
                    <a:pt x="746" y="937"/>
                  </a:cubicBezTo>
                  <a:cubicBezTo>
                    <a:pt x="749" y="937"/>
                    <a:pt x="752" y="934"/>
                    <a:pt x="753" y="932"/>
                  </a:cubicBezTo>
                  <a:cubicBezTo>
                    <a:pt x="756" y="926"/>
                    <a:pt x="755" y="931"/>
                    <a:pt x="758" y="932"/>
                  </a:cubicBezTo>
                  <a:cubicBezTo>
                    <a:pt x="760" y="932"/>
                    <a:pt x="762" y="932"/>
                    <a:pt x="764" y="930"/>
                  </a:cubicBezTo>
                  <a:cubicBezTo>
                    <a:pt x="767" y="926"/>
                    <a:pt x="772" y="929"/>
                    <a:pt x="776" y="928"/>
                  </a:cubicBezTo>
                  <a:cubicBezTo>
                    <a:pt x="780" y="928"/>
                    <a:pt x="785" y="929"/>
                    <a:pt x="788" y="927"/>
                  </a:cubicBezTo>
                  <a:cubicBezTo>
                    <a:pt x="792" y="925"/>
                    <a:pt x="788" y="920"/>
                    <a:pt x="785" y="920"/>
                  </a:cubicBezTo>
                  <a:cubicBezTo>
                    <a:pt x="781" y="920"/>
                    <a:pt x="783" y="918"/>
                    <a:pt x="780" y="917"/>
                  </a:cubicBezTo>
                  <a:cubicBezTo>
                    <a:pt x="778" y="916"/>
                    <a:pt x="776" y="916"/>
                    <a:pt x="775" y="914"/>
                  </a:cubicBezTo>
                  <a:cubicBezTo>
                    <a:pt x="773" y="913"/>
                    <a:pt x="773" y="912"/>
                    <a:pt x="771" y="911"/>
                  </a:cubicBezTo>
                  <a:cubicBezTo>
                    <a:pt x="771" y="911"/>
                    <a:pt x="769" y="910"/>
                    <a:pt x="768" y="910"/>
                  </a:cubicBezTo>
                  <a:cubicBezTo>
                    <a:pt x="765" y="910"/>
                    <a:pt x="763" y="909"/>
                    <a:pt x="760" y="908"/>
                  </a:cubicBezTo>
                  <a:cubicBezTo>
                    <a:pt x="757" y="907"/>
                    <a:pt x="752" y="906"/>
                    <a:pt x="750" y="908"/>
                  </a:cubicBezTo>
                  <a:cubicBezTo>
                    <a:pt x="744" y="911"/>
                    <a:pt x="741" y="906"/>
                    <a:pt x="737" y="906"/>
                  </a:cubicBezTo>
                  <a:cubicBezTo>
                    <a:pt x="732" y="906"/>
                    <a:pt x="728" y="904"/>
                    <a:pt x="725" y="907"/>
                  </a:cubicBezTo>
                  <a:cubicBezTo>
                    <a:pt x="724" y="907"/>
                    <a:pt x="724" y="908"/>
                    <a:pt x="725" y="908"/>
                  </a:cubicBezTo>
                  <a:cubicBezTo>
                    <a:pt x="725" y="909"/>
                    <a:pt x="725" y="909"/>
                    <a:pt x="727" y="909"/>
                  </a:cubicBezTo>
                  <a:cubicBezTo>
                    <a:pt x="733" y="910"/>
                    <a:pt x="730" y="916"/>
                    <a:pt x="731" y="920"/>
                  </a:cubicBezTo>
                  <a:cubicBezTo>
                    <a:pt x="731" y="922"/>
                    <a:pt x="734" y="922"/>
                    <a:pt x="735" y="924"/>
                  </a:cubicBezTo>
                  <a:cubicBezTo>
                    <a:pt x="733" y="924"/>
                    <a:pt x="730" y="924"/>
                    <a:pt x="727" y="925"/>
                  </a:cubicBezTo>
                  <a:cubicBezTo>
                    <a:pt x="724" y="925"/>
                    <a:pt x="721" y="924"/>
                    <a:pt x="718" y="924"/>
                  </a:cubicBezTo>
                  <a:cubicBezTo>
                    <a:pt x="715" y="923"/>
                    <a:pt x="713" y="924"/>
                    <a:pt x="711" y="925"/>
                  </a:cubicBezTo>
                  <a:cubicBezTo>
                    <a:pt x="710" y="925"/>
                    <a:pt x="707" y="926"/>
                    <a:pt x="708" y="927"/>
                  </a:cubicBezTo>
                  <a:cubicBezTo>
                    <a:pt x="708" y="929"/>
                    <a:pt x="711" y="930"/>
                    <a:pt x="712" y="931"/>
                  </a:cubicBezTo>
                  <a:close/>
                  <a:moveTo>
                    <a:pt x="1365" y="421"/>
                  </a:moveTo>
                  <a:cubicBezTo>
                    <a:pt x="1365" y="422"/>
                    <a:pt x="1366" y="424"/>
                    <a:pt x="1366" y="425"/>
                  </a:cubicBezTo>
                  <a:cubicBezTo>
                    <a:pt x="1367" y="427"/>
                    <a:pt x="1366" y="429"/>
                    <a:pt x="1367" y="431"/>
                  </a:cubicBezTo>
                  <a:cubicBezTo>
                    <a:pt x="1368" y="432"/>
                    <a:pt x="1370" y="435"/>
                    <a:pt x="1369" y="436"/>
                  </a:cubicBezTo>
                  <a:cubicBezTo>
                    <a:pt x="1369" y="437"/>
                    <a:pt x="1369" y="438"/>
                    <a:pt x="1370" y="439"/>
                  </a:cubicBezTo>
                  <a:cubicBezTo>
                    <a:pt x="1371" y="440"/>
                    <a:pt x="1376" y="446"/>
                    <a:pt x="1376" y="447"/>
                  </a:cubicBezTo>
                  <a:cubicBezTo>
                    <a:pt x="1376" y="450"/>
                    <a:pt x="1376" y="454"/>
                    <a:pt x="1378" y="456"/>
                  </a:cubicBezTo>
                  <a:cubicBezTo>
                    <a:pt x="1380" y="459"/>
                    <a:pt x="1379" y="461"/>
                    <a:pt x="1380" y="464"/>
                  </a:cubicBezTo>
                  <a:cubicBezTo>
                    <a:pt x="1381" y="467"/>
                    <a:pt x="1384" y="469"/>
                    <a:pt x="1385" y="471"/>
                  </a:cubicBezTo>
                  <a:cubicBezTo>
                    <a:pt x="1385" y="471"/>
                    <a:pt x="1388" y="478"/>
                    <a:pt x="1389" y="476"/>
                  </a:cubicBezTo>
                  <a:cubicBezTo>
                    <a:pt x="1390" y="475"/>
                    <a:pt x="1391" y="473"/>
                    <a:pt x="1391" y="472"/>
                  </a:cubicBezTo>
                  <a:cubicBezTo>
                    <a:pt x="1391" y="472"/>
                    <a:pt x="1391" y="472"/>
                    <a:pt x="1391" y="472"/>
                  </a:cubicBezTo>
                  <a:cubicBezTo>
                    <a:pt x="1392" y="474"/>
                    <a:pt x="1394" y="477"/>
                    <a:pt x="1395" y="479"/>
                  </a:cubicBezTo>
                  <a:cubicBezTo>
                    <a:pt x="1398" y="483"/>
                    <a:pt x="1399" y="488"/>
                    <a:pt x="1401" y="493"/>
                  </a:cubicBezTo>
                  <a:cubicBezTo>
                    <a:pt x="1402" y="498"/>
                    <a:pt x="1404" y="502"/>
                    <a:pt x="1406" y="506"/>
                  </a:cubicBezTo>
                  <a:cubicBezTo>
                    <a:pt x="1407" y="510"/>
                    <a:pt x="1406" y="514"/>
                    <a:pt x="1409" y="517"/>
                  </a:cubicBezTo>
                  <a:cubicBezTo>
                    <a:pt x="1410" y="518"/>
                    <a:pt x="1411" y="517"/>
                    <a:pt x="1411" y="516"/>
                  </a:cubicBezTo>
                  <a:cubicBezTo>
                    <a:pt x="1399" y="482"/>
                    <a:pt x="1383" y="449"/>
                    <a:pt x="1366" y="417"/>
                  </a:cubicBezTo>
                  <a:cubicBezTo>
                    <a:pt x="1366" y="419"/>
                    <a:pt x="1366" y="420"/>
                    <a:pt x="1365" y="421"/>
                  </a:cubicBezTo>
                  <a:close/>
                  <a:moveTo>
                    <a:pt x="1419" y="1032"/>
                  </a:moveTo>
                  <a:cubicBezTo>
                    <a:pt x="1418" y="1034"/>
                    <a:pt x="1417" y="1036"/>
                    <a:pt x="1416" y="1038"/>
                  </a:cubicBezTo>
                  <a:cubicBezTo>
                    <a:pt x="1416" y="1042"/>
                    <a:pt x="1415" y="1045"/>
                    <a:pt x="1414" y="1048"/>
                  </a:cubicBezTo>
                  <a:cubicBezTo>
                    <a:pt x="1413" y="1054"/>
                    <a:pt x="1410" y="1059"/>
                    <a:pt x="1410" y="1065"/>
                  </a:cubicBezTo>
                  <a:cubicBezTo>
                    <a:pt x="1410" y="1066"/>
                    <a:pt x="1410" y="1067"/>
                    <a:pt x="1410" y="1067"/>
                  </a:cubicBezTo>
                  <a:cubicBezTo>
                    <a:pt x="1409" y="1070"/>
                    <a:pt x="1408" y="1074"/>
                    <a:pt x="1407" y="1077"/>
                  </a:cubicBezTo>
                  <a:cubicBezTo>
                    <a:pt x="1406" y="1082"/>
                    <a:pt x="1403" y="1087"/>
                    <a:pt x="1403" y="1093"/>
                  </a:cubicBezTo>
                  <a:cubicBezTo>
                    <a:pt x="1403" y="1094"/>
                    <a:pt x="1403" y="1095"/>
                    <a:pt x="1402" y="1097"/>
                  </a:cubicBezTo>
                  <a:cubicBezTo>
                    <a:pt x="1440" y="1004"/>
                    <a:pt x="1461" y="902"/>
                    <a:pt x="1461" y="795"/>
                  </a:cubicBezTo>
                  <a:cubicBezTo>
                    <a:pt x="1461" y="791"/>
                    <a:pt x="1461" y="786"/>
                    <a:pt x="1461" y="782"/>
                  </a:cubicBezTo>
                  <a:cubicBezTo>
                    <a:pt x="1461" y="783"/>
                    <a:pt x="1461" y="783"/>
                    <a:pt x="1460" y="784"/>
                  </a:cubicBezTo>
                  <a:cubicBezTo>
                    <a:pt x="1459" y="780"/>
                    <a:pt x="1459" y="776"/>
                    <a:pt x="1460" y="772"/>
                  </a:cubicBezTo>
                  <a:cubicBezTo>
                    <a:pt x="1460" y="771"/>
                    <a:pt x="1459" y="770"/>
                    <a:pt x="1459" y="769"/>
                  </a:cubicBezTo>
                  <a:cubicBezTo>
                    <a:pt x="1457" y="767"/>
                    <a:pt x="1458" y="765"/>
                    <a:pt x="1458" y="762"/>
                  </a:cubicBezTo>
                  <a:cubicBezTo>
                    <a:pt x="1458" y="760"/>
                    <a:pt x="1458" y="759"/>
                    <a:pt x="1458" y="757"/>
                  </a:cubicBezTo>
                  <a:cubicBezTo>
                    <a:pt x="1457" y="755"/>
                    <a:pt x="1455" y="753"/>
                    <a:pt x="1454" y="753"/>
                  </a:cubicBezTo>
                  <a:cubicBezTo>
                    <a:pt x="1454" y="752"/>
                    <a:pt x="1453" y="752"/>
                    <a:pt x="1452" y="752"/>
                  </a:cubicBezTo>
                  <a:cubicBezTo>
                    <a:pt x="1450" y="751"/>
                    <a:pt x="1450" y="750"/>
                    <a:pt x="1449" y="748"/>
                  </a:cubicBezTo>
                  <a:cubicBezTo>
                    <a:pt x="1448" y="746"/>
                    <a:pt x="1447" y="745"/>
                    <a:pt x="1446" y="743"/>
                  </a:cubicBezTo>
                  <a:cubicBezTo>
                    <a:pt x="1445" y="740"/>
                    <a:pt x="1447" y="737"/>
                    <a:pt x="1448" y="734"/>
                  </a:cubicBezTo>
                  <a:cubicBezTo>
                    <a:pt x="1449" y="731"/>
                    <a:pt x="1448" y="725"/>
                    <a:pt x="1447" y="723"/>
                  </a:cubicBezTo>
                  <a:cubicBezTo>
                    <a:pt x="1445" y="719"/>
                    <a:pt x="1449" y="716"/>
                    <a:pt x="1448" y="712"/>
                  </a:cubicBezTo>
                  <a:cubicBezTo>
                    <a:pt x="1448" y="711"/>
                    <a:pt x="1445" y="710"/>
                    <a:pt x="1445" y="709"/>
                  </a:cubicBezTo>
                  <a:cubicBezTo>
                    <a:pt x="1444" y="708"/>
                    <a:pt x="1444" y="707"/>
                    <a:pt x="1443" y="707"/>
                  </a:cubicBezTo>
                  <a:cubicBezTo>
                    <a:pt x="1443" y="706"/>
                    <a:pt x="1442" y="706"/>
                    <a:pt x="1442" y="707"/>
                  </a:cubicBezTo>
                  <a:cubicBezTo>
                    <a:pt x="1440" y="707"/>
                    <a:pt x="1440" y="710"/>
                    <a:pt x="1437" y="709"/>
                  </a:cubicBezTo>
                  <a:cubicBezTo>
                    <a:pt x="1435" y="708"/>
                    <a:pt x="1433" y="708"/>
                    <a:pt x="1431" y="709"/>
                  </a:cubicBezTo>
                  <a:cubicBezTo>
                    <a:pt x="1428" y="710"/>
                    <a:pt x="1426" y="706"/>
                    <a:pt x="1424" y="708"/>
                  </a:cubicBezTo>
                  <a:cubicBezTo>
                    <a:pt x="1421" y="709"/>
                    <a:pt x="1419" y="709"/>
                    <a:pt x="1416" y="710"/>
                  </a:cubicBezTo>
                  <a:cubicBezTo>
                    <a:pt x="1414" y="710"/>
                    <a:pt x="1413" y="713"/>
                    <a:pt x="1412" y="714"/>
                  </a:cubicBezTo>
                  <a:cubicBezTo>
                    <a:pt x="1412" y="716"/>
                    <a:pt x="1413" y="716"/>
                    <a:pt x="1410" y="716"/>
                  </a:cubicBezTo>
                  <a:cubicBezTo>
                    <a:pt x="1410" y="717"/>
                    <a:pt x="1409" y="717"/>
                    <a:pt x="1409" y="718"/>
                  </a:cubicBezTo>
                  <a:cubicBezTo>
                    <a:pt x="1408" y="719"/>
                    <a:pt x="1407" y="721"/>
                    <a:pt x="1406" y="723"/>
                  </a:cubicBezTo>
                  <a:cubicBezTo>
                    <a:pt x="1405" y="725"/>
                    <a:pt x="1402" y="720"/>
                    <a:pt x="1402" y="720"/>
                  </a:cubicBezTo>
                  <a:cubicBezTo>
                    <a:pt x="1401" y="719"/>
                    <a:pt x="1400" y="718"/>
                    <a:pt x="1399" y="719"/>
                  </a:cubicBezTo>
                  <a:cubicBezTo>
                    <a:pt x="1396" y="720"/>
                    <a:pt x="1389" y="722"/>
                    <a:pt x="1390" y="716"/>
                  </a:cubicBezTo>
                  <a:cubicBezTo>
                    <a:pt x="1390" y="715"/>
                    <a:pt x="1389" y="714"/>
                    <a:pt x="1388" y="714"/>
                  </a:cubicBezTo>
                  <a:cubicBezTo>
                    <a:pt x="1383" y="712"/>
                    <a:pt x="1385" y="726"/>
                    <a:pt x="1384" y="728"/>
                  </a:cubicBezTo>
                  <a:cubicBezTo>
                    <a:pt x="1383" y="731"/>
                    <a:pt x="1379" y="738"/>
                    <a:pt x="1376" y="739"/>
                  </a:cubicBezTo>
                  <a:cubicBezTo>
                    <a:pt x="1374" y="741"/>
                    <a:pt x="1371" y="744"/>
                    <a:pt x="1369" y="746"/>
                  </a:cubicBezTo>
                  <a:cubicBezTo>
                    <a:pt x="1367" y="749"/>
                    <a:pt x="1368" y="752"/>
                    <a:pt x="1368" y="755"/>
                  </a:cubicBezTo>
                  <a:cubicBezTo>
                    <a:pt x="1367" y="758"/>
                    <a:pt x="1366" y="760"/>
                    <a:pt x="1365" y="764"/>
                  </a:cubicBezTo>
                  <a:cubicBezTo>
                    <a:pt x="1365" y="766"/>
                    <a:pt x="1366" y="768"/>
                    <a:pt x="1365" y="771"/>
                  </a:cubicBezTo>
                  <a:cubicBezTo>
                    <a:pt x="1364" y="774"/>
                    <a:pt x="1364" y="776"/>
                    <a:pt x="1365" y="779"/>
                  </a:cubicBezTo>
                  <a:cubicBezTo>
                    <a:pt x="1366" y="781"/>
                    <a:pt x="1362" y="785"/>
                    <a:pt x="1362" y="787"/>
                  </a:cubicBezTo>
                  <a:cubicBezTo>
                    <a:pt x="1360" y="790"/>
                    <a:pt x="1362" y="790"/>
                    <a:pt x="1358" y="794"/>
                  </a:cubicBezTo>
                  <a:cubicBezTo>
                    <a:pt x="1357" y="795"/>
                    <a:pt x="1355" y="797"/>
                    <a:pt x="1354" y="798"/>
                  </a:cubicBezTo>
                  <a:cubicBezTo>
                    <a:pt x="1351" y="801"/>
                    <a:pt x="1348" y="801"/>
                    <a:pt x="1346" y="804"/>
                  </a:cubicBezTo>
                  <a:cubicBezTo>
                    <a:pt x="1345" y="805"/>
                    <a:pt x="1342" y="809"/>
                    <a:pt x="1342" y="811"/>
                  </a:cubicBezTo>
                  <a:cubicBezTo>
                    <a:pt x="1342" y="813"/>
                    <a:pt x="1342" y="815"/>
                    <a:pt x="1340" y="816"/>
                  </a:cubicBezTo>
                  <a:cubicBezTo>
                    <a:pt x="1339" y="817"/>
                    <a:pt x="1337" y="818"/>
                    <a:pt x="1336" y="819"/>
                  </a:cubicBezTo>
                  <a:cubicBezTo>
                    <a:pt x="1334" y="820"/>
                    <a:pt x="1334" y="823"/>
                    <a:pt x="1333" y="824"/>
                  </a:cubicBezTo>
                  <a:cubicBezTo>
                    <a:pt x="1333" y="828"/>
                    <a:pt x="1332" y="830"/>
                    <a:pt x="1331" y="833"/>
                  </a:cubicBezTo>
                  <a:cubicBezTo>
                    <a:pt x="1330" y="836"/>
                    <a:pt x="1329" y="839"/>
                    <a:pt x="1327" y="842"/>
                  </a:cubicBezTo>
                  <a:cubicBezTo>
                    <a:pt x="1326" y="844"/>
                    <a:pt x="1325" y="846"/>
                    <a:pt x="1325" y="848"/>
                  </a:cubicBezTo>
                  <a:cubicBezTo>
                    <a:pt x="1324" y="851"/>
                    <a:pt x="1324" y="852"/>
                    <a:pt x="1323" y="855"/>
                  </a:cubicBezTo>
                  <a:cubicBezTo>
                    <a:pt x="1323" y="856"/>
                    <a:pt x="1322" y="857"/>
                    <a:pt x="1321" y="858"/>
                  </a:cubicBezTo>
                  <a:cubicBezTo>
                    <a:pt x="1321" y="860"/>
                    <a:pt x="1320" y="862"/>
                    <a:pt x="1321" y="864"/>
                  </a:cubicBezTo>
                  <a:cubicBezTo>
                    <a:pt x="1319" y="865"/>
                    <a:pt x="1318" y="867"/>
                    <a:pt x="1318" y="868"/>
                  </a:cubicBezTo>
                  <a:cubicBezTo>
                    <a:pt x="1317" y="871"/>
                    <a:pt x="1317" y="873"/>
                    <a:pt x="1315" y="876"/>
                  </a:cubicBezTo>
                  <a:cubicBezTo>
                    <a:pt x="1314" y="878"/>
                    <a:pt x="1313" y="880"/>
                    <a:pt x="1313" y="882"/>
                  </a:cubicBezTo>
                  <a:cubicBezTo>
                    <a:pt x="1314" y="883"/>
                    <a:pt x="1314" y="883"/>
                    <a:pt x="1315" y="884"/>
                  </a:cubicBezTo>
                  <a:cubicBezTo>
                    <a:pt x="1317" y="885"/>
                    <a:pt x="1317" y="884"/>
                    <a:pt x="1318" y="886"/>
                  </a:cubicBezTo>
                  <a:cubicBezTo>
                    <a:pt x="1319" y="889"/>
                    <a:pt x="1320" y="892"/>
                    <a:pt x="1319" y="896"/>
                  </a:cubicBezTo>
                  <a:cubicBezTo>
                    <a:pt x="1318" y="898"/>
                    <a:pt x="1318" y="902"/>
                    <a:pt x="1318" y="904"/>
                  </a:cubicBezTo>
                  <a:cubicBezTo>
                    <a:pt x="1317" y="909"/>
                    <a:pt x="1318" y="914"/>
                    <a:pt x="1317" y="919"/>
                  </a:cubicBezTo>
                  <a:cubicBezTo>
                    <a:pt x="1315" y="924"/>
                    <a:pt x="1315" y="930"/>
                    <a:pt x="1314" y="935"/>
                  </a:cubicBezTo>
                  <a:cubicBezTo>
                    <a:pt x="1314" y="939"/>
                    <a:pt x="1312" y="942"/>
                    <a:pt x="1310" y="945"/>
                  </a:cubicBezTo>
                  <a:cubicBezTo>
                    <a:pt x="1309" y="946"/>
                    <a:pt x="1308" y="948"/>
                    <a:pt x="1308" y="950"/>
                  </a:cubicBezTo>
                  <a:cubicBezTo>
                    <a:pt x="1308" y="953"/>
                    <a:pt x="1309" y="955"/>
                    <a:pt x="1311" y="956"/>
                  </a:cubicBezTo>
                  <a:cubicBezTo>
                    <a:pt x="1311" y="961"/>
                    <a:pt x="1309" y="965"/>
                    <a:pt x="1309" y="969"/>
                  </a:cubicBezTo>
                  <a:cubicBezTo>
                    <a:pt x="1309" y="972"/>
                    <a:pt x="1310" y="976"/>
                    <a:pt x="1312" y="978"/>
                  </a:cubicBezTo>
                  <a:cubicBezTo>
                    <a:pt x="1313" y="981"/>
                    <a:pt x="1315" y="981"/>
                    <a:pt x="1318" y="981"/>
                  </a:cubicBezTo>
                  <a:cubicBezTo>
                    <a:pt x="1320" y="981"/>
                    <a:pt x="1318" y="982"/>
                    <a:pt x="1318" y="982"/>
                  </a:cubicBezTo>
                  <a:cubicBezTo>
                    <a:pt x="1318" y="984"/>
                    <a:pt x="1318" y="984"/>
                    <a:pt x="1318" y="986"/>
                  </a:cubicBezTo>
                  <a:cubicBezTo>
                    <a:pt x="1319" y="986"/>
                    <a:pt x="1321" y="988"/>
                    <a:pt x="1321" y="989"/>
                  </a:cubicBezTo>
                  <a:cubicBezTo>
                    <a:pt x="1320" y="991"/>
                    <a:pt x="1321" y="992"/>
                    <a:pt x="1321" y="994"/>
                  </a:cubicBezTo>
                  <a:cubicBezTo>
                    <a:pt x="1322" y="997"/>
                    <a:pt x="1326" y="997"/>
                    <a:pt x="1327" y="1000"/>
                  </a:cubicBezTo>
                  <a:cubicBezTo>
                    <a:pt x="1328" y="1002"/>
                    <a:pt x="1329" y="1004"/>
                    <a:pt x="1330" y="1007"/>
                  </a:cubicBezTo>
                  <a:cubicBezTo>
                    <a:pt x="1330" y="1009"/>
                    <a:pt x="1329" y="1012"/>
                    <a:pt x="1330" y="1014"/>
                  </a:cubicBezTo>
                  <a:cubicBezTo>
                    <a:pt x="1330" y="1017"/>
                    <a:pt x="1332" y="1023"/>
                    <a:pt x="1335" y="1025"/>
                  </a:cubicBezTo>
                  <a:cubicBezTo>
                    <a:pt x="1337" y="1027"/>
                    <a:pt x="1339" y="1027"/>
                    <a:pt x="1341" y="1028"/>
                  </a:cubicBezTo>
                  <a:cubicBezTo>
                    <a:pt x="1344" y="1029"/>
                    <a:pt x="1342" y="1032"/>
                    <a:pt x="1343" y="1034"/>
                  </a:cubicBezTo>
                  <a:cubicBezTo>
                    <a:pt x="1346" y="1037"/>
                    <a:pt x="1350" y="1039"/>
                    <a:pt x="1352" y="1042"/>
                  </a:cubicBezTo>
                  <a:cubicBezTo>
                    <a:pt x="1354" y="1043"/>
                    <a:pt x="1356" y="1045"/>
                    <a:pt x="1358" y="1044"/>
                  </a:cubicBezTo>
                  <a:cubicBezTo>
                    <a:pt x="1362" y="1040"/>
                    <a:pt x="1367" y="1037"/>
                    <a:pt x="1372" y="1034"/>
                  </a:cubicBezTo>
                  <a:cubicBezTo>
                    <a:pt x="1374" y="1033"/>
                    <a:pt x="1376" y="1033"/>
                    <a:pt x="1378" y="1032"/>
                  </a:cubicBezTo>
                  <a:cubicBezTo>
                    <a:pt x="1380" y="1030"/>
                    <a:pt x="1383" y="1031"/>
                    <a:pt x="1386" y="1030"/>
                  </a:cubicBezTo>
                  <a:cubicBezTo>
                    <a:pt x="1389" y="1029"/>
                    <a:pt x="1392" y="1026"/>
                    <a:pt x="1395" y="1024"/>
                  </a:cubicBezTo>
                  <a:cubicBezTo>
                    <a:pt x="1396" y="1024"/>
                    <a:pt x="1396" y="1023"/>
                    <a:pt x="1397" y="1022"/>
                  </a:cubicBezTo>
                  <a:cubicBezTo>
                    <a:pt x="1398" y="1017"/>
                    <a:pt x="1401" y="1017"/>
                    <a:pt x="1403" y="1015"/>
                  </a:cubicBezTo>
                  <a:cubicBezTo>
                    <a:pt x="1406" y="1013"/>
                    <a:pt x="1405" y="1011"/>
                    <a:pt x="1408" y="1009"/>
                  </a:cubicBezTo>
                  <a:cubicBezTo>
                    <a:pt x="1409" y="1008"/>
                    <a:pt x="1410" y="1008"/>
                    <a:pt x="1412" y="1007"/>
                  </a:cubicBezTo>
                  <a:cubicBezTo>
                    <a:pt x="1412" y="1008"/>
                    <a:pt x="1412" y="1009"/>
                    <a:pt x="1412" y="1010"/>
                  </a:cubicBezTo>
                  <a:cubicBezTo>
                    <a:pt x="1412" y="1012"/>
                    <a:pt x="1413" y="1014"/>
                    <a:pt x="1413" y="1016"/>
                  </a:cubicBezTo>
                  <a:cubicBezTo>
                    <a:pt x="1413" y="1018"/>
                    <a:pt x="1411" y="1021"/>
                    <a:pt x="1413" y="1023"/>
                  </a:cubicBezTo>
                  <a:cubicBezTo>
                    <a:pt x="1414" y="1024"/>
                    <a:pt x="1416" y="1021"/>
                    <a:pt x="1417" y="1021"/>
                  </a:cubicBezTo>
                  <a:cubicBezTo>
                    <a:pt x="1418" y="1019"/>
                    <a:pt x="1419" y="1019"/>
                    <a:pt x="1420" y="1018"/>
                  </a:cubicBezTo>
                  <a:cubicBezTo>
                    <a:pt x="1421" y="1017"/>
                    <a:pt x="1421" y="1017"/>
                    <a:pt x="1421" y="1017"/>
                  </a:cubicBezTo>
                  <a:cubicBezTo>
                    <a:pt x="1422" y="1018"/>
                    <a:pt x="1423" y="1020"/>
                    <a:pt x="1422" y="1023"/>
                  </a:cubicBezTo>
                  <a:cubicBezTo>
                    <a:pt x="1421" y="1026"/>
                    <a:pt x="1421" y="1030"/>
                    <a:pt x="1419" y="1032"/>
                  </a:cubicBezTo>
                  <a:close/>
                  <a:moveTo>
                    <a:pt x="1365" y="492"/>
                  </a:moveTo>
                  <a:cubicBezTo>
                    <a:pt x="1364" y="492"/>
                    <a:pt x="1364" y="493"/>
                    <a:pt x="1365" y="493"/>
                  </a:cubicBezTo>
                  <a:cubicBezTo>
                    <a:pt x="1365" y="495"/>
                    <a:pt x="1366" y="496"/>
                    <a:pt x="1367" y="498"/>
                  </a:cubicBezTo>
                  <a:cubicBezTo>
                    <a:pt x="1367" y="499"/>
                    <a:pt x="1367" y="499"/>
                    <a:pt x="1367" y="499"/>
                  </a:cubicBezTo>
                  <a:cubicBezTo>
                    <a:pt x="1368" y="500"/>
                    <a:pt x="1368" y="500"/>
                    <a:pt x="1369" y="500"/>
                  </a:cubicBezTo>
                  <a:cubicBezTo>
                    <a:pt x="1370" y="501"/>
                    <a:pt x="1369" y="505"/>
                    <a:pt x="1370" y="506"/>
                  </a:cubicBezTo>
                  <a:cubicBezTo>
                    <a:pt x="1370" y="509"/>
                    <a:pt x="1369" y="508"/>
                    <a:pt x="1367" y="508"/>
                  </a:cubicBezTo>
                  <a:cubicBezTo>
                    <a:pt x="1367" y="508"/>
                    <a:pt x="1366" y="508"/>
                    <a:pt x="1366" y="509"/>
                  </a:cubicBezTo>
                  <a:cubicBezTo>
                    <a:pt x="1366" y="510"/>
                    <a:pt x="1365" y="512"/>
                    <a:pt x="1365" y="513"/>
                  </a:cubicBezTo>
                  <a:cubicBezTo>
                    <a:pt x="1365" y="514"/>
                    <a:pt x="1366" y="514"/>
                    <a:pt x="1366" y="514"/>
                  </a:cubicBezTo>
                  <a:cubicBezTo>
                    <a:pt x="1368" y="513"/>
                    <a:pt x="1368" y="516"/>
                    <a:pt x="1368" y="517"/>
                  </a:cubicBezTo>
                  <a:cubicBezTo>
                    <a:pt x="1368" y="520"/>
                    <a:pt x="1367" y="521"/>
                    <a:pt x="1365" y="522"/>
                  </a:cubicBezTo>
                  <a:cubicBezTo>
                    <a:pt x="1365" y="522"/>
                    <a:pt x="1365" y="522"/>
                    <a:pt x="1365" y="523"/>
                  </a:cubicBezTo>
                  <a:cubicBezTo>
                    <a:pt x="1365" y="524"/>
                    <a:pt x="1365" y="525"/>
                    <a:pt x="1366" y="526"/>
                  </a:cubicBezTo>
                  <a:cubicBezTo>
                    <a:pt x="1368" y="527"/>
                    <a:pt x="1369" y="527"/>
                    <a:pt x="1370" y="529"/>
                  </a:cubicBezTo>
                  <a:cubicBezTo>
                    <a:pt x="1370" y="530"/>
                    <a:pt x="1371" y="532"/>
                    <a:pt x="1373" y="533"/>
                  </a:cubicBezTo>
                  <a:cubicBezTo>
                    <a:pt x="1372" y="533"/>
                    <a:pt x="1370" y="533"/>
                    <a:pt x="1370" y="534"/>
                  </a:cubicBezTo>
                  <a:cubicBezTo>
                    <a:pt x="1370" y="538"/>
                    <a:pt x="1365" y="541"/>
                    <a:pt x="1368" y="544"/>
                  </a:cubicBezTo>
                  <a:cubicBezTo>
                    <a:pt x="1368" y="545"/>
                    <a:pt x="1368" y="545"/>
                    <a:pt x="1368" y="545"/>
                  </a:cubicBezTo>
                  <a:cubicBezTo>
                    <a:pt x="1370" y="544"/>
                    <a:pt x="1370" y="544"/>
                    <a:pt x="1372" y="545"/>
                  </a:cubicBezTo>
                  <a:cubicBezTo>
                    <a:pt x="1373" y="545"/>
                    <a:pt x="1374" y="546"/>
                    <a:pt x="1375" y="545"/>
                  </a:cubicBezTo>
                  <a:cubicBezTo>
                    <a:pt x="1379" y="541"/>
                    <a:pt x="1379" y="543"/>
                    <a:pt x="1382" y="543"/>
                  </a:cubicBezTo>
                  <a:cubicBezTo>
                    <a:pt x="1385" y="543"/>
                    <a:pt x="1388" y="545"/>
                    <a:pt x="1391" y="544"/>
                  </a:cubicBezTo>
                  <a:cubicBezTo>
                    <a:pt x="1393" y="544"/>
                    <a:pt x="1396" y="543"/>
                    <a:pt x="1394" y="540"/>
                  </a:cubicBezTo>
                  <a:cubicBezTo>
                    <a:pt x="1394" y="540"/>
                    <a:pt x="1393" y="540"/>
                    <a:pt x="1393" y="540"/>
                  </a:cubicBezTo>
                  <a:cubicBezTo>
                    <a:pt x="1387" y="538"/>
                    <a:pt x="1391" y="537"/>
                    <a:pt x="1392" y="535"/>
                  </a:cubicBezTo>
                  <a:cubicBezTo>
                    <a:pt x="1392" y="533"/>
                    <a:pt x="1393" y="530"/>
                    <a:pt x="1392" y="528"/>
                  </a:cubicBezTo>
                  <a:cubicBezTo>
                    <a:pt x="1392" y="525"/>
                    <a:pt x="1391" y="524"/>
                    <a:pt x="1389" y="522"/>
                  </a:cubicBezTo>
                  <a:cubicBezTo>
                    <a:pt x="1387" y="520"/>
                    <a:pt x="1386" y="519"/>
                    <a:pt x="1385" y="516"/>
                  </a:cubicBezTo>
                  <a:cubicBezTo>
                    <a:pt x="1384" y="513"/>
                    <a:pt x="1383" y="512"/>
                    <a:pt x="1382" y="509"/>
                  </a:cubicBezTo>
                  <a:cubicBezTo>
                    <a:pt x="1381" y="507"/>
                    <a:pt x="1381" y="506"/>
                    <a:pt x="1380" y="504"/>
                  </a:cubicBezTo>
                  <a:cubicBezTo>
                    <a:pt x="1379" y="502"/>
                    <a:pt x="1378" y="500"/>
                    <a:pt x="1377" y="498"/>
                  </a:cubicBezTo>
                  <a:cubicBezTo>
                    <a:pt x="1375" y="496"/>
                    <a:pt x="1373" y="494"/>
                    <a:pt x="1373" y="491"/>
                  </a:cubicBezTo>
                  <a:cubicBezTo>
                    <a:pt x="1372" y="488"/>
                    <a:pt x="1370" y="484"/>
                    <a:pt x="1369" y="481"/>
                  </a:cubicBezTo>
                  <a:cubicBezTo>
                    <a:pt x="1368" y="479"/>
                    <a:pt x="1367" y="478"/>
                    <a:pt x="1365" y="477"/>
                  </a:cubicBezTo>
                  <a:cubicBezTo>
                    <a:pt x="1363" y="476"/>
                    <a:pt x="1362" y="478"/>
                    <a:pt x="1360" y="476"/>
                  </a:cubicBezTo>
                  <a:cubicBezTo>
                    <a:pt x="1360" y="476"/>
                    <a:pt x="1363" y="476"/>
                    <a:pt x="1363" y="476"/>
                  </a:cubicBezTo>
                  <a:cubicBezTo>
                    <a:pt x="1364" y="476"/>
                    <a:pt x="1364" y="476"/>
                    <a:pt x="1364" y="476"/>
                  </a:cubicBezTo>
                  <a:cubicBezTo>
                    <a:pt x="1364" y="473"/>
                    <a:pt x="1364" y="471"/>
                    <a:pt x="1365" y="469"/>
                  </a:cubicBezTo>
                  <a:cubicBezTo>
                    <a:pt x="1365" y="467"/>
                    <a:pt x="1364" y="466"/>
                    <a:pt x="1364" y="464"/>
                  </a:cubicBezTo>
                  <a:cubicBezTo>
                    <a:pt x="1362" y="458"/>
                    <a:pt x="1359" y="457"/>
                    <a:pt x="1354" y="455"/>
                  </a:cubicBezTo>
                  <a:cubicBezTo>
                    <a:pt x="1354" y="454"/>
                    <a:pt x="1354" y="453"/>
                    <a:pt x="1354" y="452"/>
                  </a:cubicBezTo>
                  <a:cubicBezTo>
                    <a:pt x="1353" y="451"/>
                    <a:pt x="1355" y="451"/>
                    <a:pt x="1356" y="450"/>
                  </a:cubicBezTo>
                  <a:cubicBezTo>
                    <a:pt x="1356" y="449"/>
                    <a:pt x="1355" y="446"/>
                    <a:pt x="1355" y="445"/>
                  </a:cubicBezTo>
                  <a:cubicBezTo>
                    <a:pt x="1353" y="443"/>
                    <a:pt x="1349" y="442"/>
                    <a:pt x="1347" y="441"/>
                  </a:cubicBezTo>
                  <a:cubicBezTo>
                    <a:pt x="1346" y="441"/>
                    <a:pt x="1346" y="441"/>
                    <a:pt x="1346" y="441"/>
                  </a:cubicBezTo>
                  <a:cubicBezTo>
                    <a:pt x="1345" y="444"/>
                    <a:pt x="1348" y="446"/>
                    <a:pt x="1346" y="449"/>
                  </a:cubicBezTo>
                  <a:cubicBezTo>
                    <a:pt x="1345" y="451"/>
                    <a:pt x="1347" y="453"/>
                    <a:pt x="1347" y="455"/>
                  </a:cubicBezTo>
                  <a:cubicBezTo>
                    <a:pt x="1348" y="457"/>
                    <a:pt x="1349" y="460"/>
                    <a:pt x="1347" y="462"/>
                  </a:cubicBezTo>
                  <a:cubicBezTo>
                    <a:pt x="1347" y="463"/>
                    <a:pt x="1347" y="463"/>
                    <a:pt x="1347" y="464"/>
                  </a:cubicBezTo>
                  <a:cubicBezTo>
                    <a:pt x="1347" y="465"/>
                    <a:pt x="1349" y="466"/>
                    <a:pt x="1350" y="467"/>
                  </a:cubicBezTo>
                  <a:cubicBezTo>
                    <a:pt x="1351" y="467"/>
                    <a:pt x="1352" y="466"/>
                    <a:pt x="1352" y="466"/>
                  </a:cubicBezTo>
                  <a:cubicBezTo>
                    <a:pt x="1352" y="468"/>
                    <a:pt x="1352" y="470"/>
                    <a:pt x="1352" y="472"/>
                  </a:cubicBezTo>
                  <a:cubicBezTo>
                    <a:pt x="1352" y="473"/>
                    <a:pt x="1353" y="476"/>
                    <a:pt x="1355" y="477"/>
                  </a:cubicBezTo>
                  <a:cubicBezTo>
                    <a:pt x="1356" y="477"/>
                    <a:pt x="1355" y="478"/>
                    <a:pt x="1356" y="479"/>
                  </a:cubicBezTo>
                  <a:cubicBezTo>
                    <a:pt x="1357" y="484"/>
                    <a:pt x="1356" y="488"/>
                    <a:pt x="1362" y="490"/>
                  </a:cubicBezTo>
                  <a:cubicBezTo>
                    <a:pt x="1363" y="490"/>
                    <a:pt x="1366" y="489"/>
                    <a:pt x="1365" y="492"/>
                  </a:cubicBezTo>
                  <a:close/>
                  <a:moveTo>
                    <a:pt x="1438" y="626"/>
                  </a:moveTo>
                  <a:cubicBezTo>
                    <a:pt x="1438" y="628"/>
                    <a:pt x="1439" y="631"/>
                    <a:pt x="1439" y="632"/>
                  </a:cubicBezTo>
                  <a:cubicBezTo>
                    <a:pt x="1439" y="633"/>
                    <a:pt x="1439" y="633"/>
                    <a:pt x="1440" y="633"/>
                  </a:cubicBezTo>
                  <a:cubicBezTo>
                    <a:pt x="1440" y="632"/>
                    <a:pt x="1441" y="631"/>
                    <a:pt x="1441" y="630"/>
                  </a:cubicBezTo>
                  <a:cubicBezTo>
                    <a:pt x="1443" y="640"/>
                    <a:pt x="1445" y="650"/>
                    <a:pt x="1449" y="659"/>
                  </a:cubicBezTo>
                  <a:cubicBezTo>
                    <a:pt x="1450" y="663"/>
                    <a:pt x="1451" y="666"/>
                    <a:pt x="1451" y="669"/>
                  </a:cubicBezTo>
                  <a:cubicBezTo>
                    <a:pt x="1451" y="672"/>
                    <a:pt x="1452" y="675"/>
                    <a:pt x="1453" y="677"/>
                  </a:cubicBezTo>
                  <a:cubicBezTo>
                    <a:pt x="1445" y="628"/>
                    <a:pt x="1434" y="581"/>
                    <a:pt x="1418" y="535"/>
                  </a:cubicBezTo>
                  <a:cubicBezTo>
                    <a:pt x="1418" y="535"/>
                    <a:pt x="1418" y="536"/>
                    <a:pt x="1418" y="536"/>
                  </a:cubicBezTo>
                  <a:cubicBezTo>
                    <a:pt x="1417" y="535"/>
                    <a:pt x="1416" y="534"/>
                    <a:pt x="1415" y="532"/>
                  </a:cubicBezTo>
                  <a:cubicBezTo>
                    <a:pt x="1414" y="531"/>
                    <a:pt x="1415" y="529"/>
                    <a:pt x="1414" y="528"/>
                  </a:cubicBezTo>
                  <a:cubicBezTo>
                    <a:pt x="1414" y="528"/>
                    <a:pt x="1414" y="527"/>
                    <a:pt x="1413" y="528"/>
                  </a:cubicBezTo>
                  <a:cubicBezTo>
                    <a:pt x="1412" y="528"/>
                    <a:pt x="1411" y="527"/>
                    <a:pt x="1410" y="526"/>
                  </a:cubicBezTo>
                  <a:cubicBezTo>
                    <a:pt x="1409" y="523"/>
                    <a:pt x="1409" y="519"/>
                    <a:pt x="1407" y="515"/>
                  </a:cubicBezTo>
                  <a:cubicBezTo>
                    <a:pt x="1405" y="513"/>
                    <a:pt x="1404" y="512"/>
                    <a:pt x="1404" y="509"/>
                  </a:cubicBezTo>
                  <a:cubicBezTo>
                    <a:pt x="1404" y="507"/>
                    <a:pt x="1404" y="505"/>
                    <a:pt x="1402" y="503"/>
                  </a:cubicBezTo>
                  <a:cubicBezTo>
                    <a:pt x="1402" y="502"/>
                    <a:pt x="1402" y="501"/>
                    <a:pt x="1402" y="500"/>
                  </a:cubicBezTo>
                  <a:cubicBezTo>
                    <a:pt x="1401" y="499"/>
                    <a:pt x="1401" y="497"/>
                    <a:pt x="1400" y="496"/>
                  </a:cubicBezTo>
                  <a:cubicBezTo>
                    <a:pt x="1400" y="496"/>
                    <a:pt x="1400" y="496"/>
                    <a:pt x="1400" y="496"/>
                  </a:cubicBezTo>
                  <a:cubicBezTo>
                    <a:pt x="1400" y="495"/>
                    <a:pt x="1400" y="495"/>
                    <a:pt x="1400" y="495"/>
                  </a:cubicBezTo>
                  <a:cubicBezTo>
                    <a:pt x="1400" y="493"/>
                    <a:pt x="1399" y="492"/>
                    <a:pt x="1398" y="490"/>
                  </a:cubicBezTo>
                  <a:cubicBezTo>
                    <a:pt x="1398" y="490"/>
                    <a:pt x="1398" y="490"/>
                    <a:pt x="1398" y="490"/>
                  </a:cubicBezTo>
                  <a:cubicBezTo>
                    <a:pt x="1398" y="490"/>
                    <a:pt x="1398" y="489"/>
                    <a:pt x="1398" y="488"/>
                  </a:cubicBezTo>
                  <a:cubicBezTo>
                    <a:pt x="1398" y="488"/>
                    <a:pt x="1397" y="488"/>
                    <a:pt x="1397" y="488"/>
                  </a:cubicBezTo>
                  <a:cubicBezTo>
                    <a:pt x="1396" y="487"/>
                    <a:pt x="1395" y="488"/>
                    <a:pt x="1395" y="488"/>
                  </a:cubicBezTo>
                  <a:cubicBezTo>
                    <a:pt x="1395" y="489"/>
                    <a:pt x="1395" y="489"/>
                    <a:pt x="1395" y="489"/>
                  </a:cubicBezTo>
                  <a:cubicBezTo>
                    <a:pt x="1395" y="489"/>
                    <a:pt x="1395" y="489"/>
                    <a:pt x="1395" y="489"/>
                  </a:cubicBezTo>
                  <a:cubicBezTo>
                    <a:pt x="1395" y="489"/>
                    <a:pt x="1395" y="490"/>
                    <a:pt x="1395" y="490"/>
                  </a:cubicBezTo>
                  <a:cubicBezTo>
                    <a:pt x="1395" y="491"/>
                    <a:pt x="1395" y="491"/>
                    <a:pt x="1396" y="491"/>
                  </a:cubicBezTo>
                  <a:cubicBezTo>
                    <a:pt x="1396" y="492"/>
                    <a:pt x="1396" y="492"/>
                    <a:pt x="1396" y="493"/>
                  </a:cubicBezTo>
                  <a:cubicBezTo>
                    <a:pt x="1396" y="493"/>
                    <a:pt x="1397" y="493"/>
                    <a:pt x="1397" y="493"/>
                  </a:cubicBezTo>
                  <a:cubicBezTo>
                    <a:pt x="1396" y="494"/>
                    <a:pt x="1396" y="494"/>
                    <a:pt x="1396" y="495"/>
                  </a:cubicBezTo>
                  <a:cubicBezTo>
                    <a:pt x="1397" y="497"/>
                    <a:pt x="1398" y="500"/>
                    <a:pt x="1399" y="501"/>
                  </a:cubicBezTo>
                  <a:cubicBezTo>
                    <a:pt x="1399" y="502"/>
                    <a:pt x="1399" y="503"/>
                    <a:pt x="1399" y="503"/>
                  </a:cubicBezTo>
                  <a:cubicBezTo>
                    <a:pt x="1400" y="503"/>
                    <a:pt x="1400" y="503"/>
                    <a:pt x="1400" y="504"/>
                  </a:cubicBezTo>
                  <a:cubicBezTo>
                    <a:pt x="1400" y="504"/>
                    <a:pt x="1400" y="504"/>
                    <a:pt x="1400" y="504"/>
                  </a:cubicBezTo>
                  <a:cubicBezTo>
                    <a:pt x="1399" y="504"/>
                    <a:pt x="1399" y="504"/>
                    <a:pt x="1399" y="505"/>
                  </a:cubicBezTo>
                  <a:cubicBezTo>
                    <a:pt x="1400" y="506"/>
                    <a:pt x="1400" y="508"/>
                    <a:pt x="1401" y="508"/>
                  </a:cubicBezTo>
                  <a:cubicBezTo>
                    <a:pt x="1401" y="508"/>
                    <a:pt x="1401" y="508"/>
                    <a:pt x="1401" y="509"/>
                  </a:cubicBezTo>
                  <a:cubicBezTo>
                    <a:pt x="1402" y="509"/>
                    <a:pt x="1402" y="510"/>
                    <a:pt x="1402" y="511"/>
                  </a:cubicBezTo>
                  <a:cubicBezTo>
                    <a:pt x="1402" y="514"/>
                    <a:pt x="1404" y="515"/>
                    <a:pt x="1405" y="517"/>
                  </a:cubicBezTo>
                  <a:cubicBezTo>
                    <a:pt x="1406" y="520"/>
                    <a:pt x="1407" y="524"/>
                    <a:pt x="1408" y="527"/>
                  </a:cubicBezTo>
                  <a:cubicBezTo>
                    <a:pt x="1408" y="527"/>
                    <a:pt x="1408" y="527"/>
                    <a:pt x="1408" y="527"/>
                  </a:cubicBezTo>
                  <a:cubicBezTo>
                    <a:pt x="1406" y="529"/>
                    <a:pt x="1407" y="528"/>
                    <a:pt x="1407" y="527"/>
                  </a:cubicBezTo>
                  <a:cubicBezTo>
                    <a:pt x="1406" y="526"/>
                    <a:pt x="1406" y="525"/>
                    <a:pt x="1405" y="525"/>
                  </a:cubicBezTo>
                  <a:cubicBezTo>
                    <a:pt x="1404" y="524"/>
                    <a:pt x="1404" y="525"/>
                    <a:pt x="1402" y="526"/>
                  </a:cubicBezTo>
                  <a:cubicBezTo>
                    <a:pt x="1402" y="526"/>
                    <a:pt x="1401" y="526"/>
                    <a:pt x="1401" y="526"/>
                  </a:cubicBezTo>
                  <a:cubicBezTo>
                    <a:pt x="1397" y="529"/>
                    <a:pt x="1399" y="534"/>
                    <a:pt x="1399" y="537"/>
                  </a:cubicBezTo>
                  <a:cubicBezTo>
                    <a:pt x="1398" y="539"/>
                    <a:pt x="1398" y="541"/>
                    <a:pt x="1398" y="542"/>
                  </a:cubicBezTo>
                  <a:cubicBezTo>
                    <a:pt x="1399" y="543"/>
                    <a:pt x="1399" y="543"/>
                    <a:pt x="1399" y="543"/>
                  </a:cubicBezTo>
                  <a:cubicBezTo>
                    <a:pt x="1398" y="544"/>
                    <a:pt x="1396" y="545"/>
                    <a:pt x="1395" y="546"/>
                  </a:cubicBezTo>
                  <a:cubicBezTo>
                    <a:pt x="1394" y="547"/>
                    <a:pt x="1396" y="551"/>
                    <a:pt x="1396" y="552"/>
                  </a:cubicBezTo>
                  <a:cubicBezTo>
                    <a:pt x="1396" y="553"/>
                    <a:pt x="1396" y="554"/>
                    <a:pt x="1396" y="555"/>
                  </a:cubicBezTo>
                  <a:cubicBezTo>
                    <a:pt x="1396" y="556"/>
                    <a:pt x="1396" y="555"/>
                    <a:pt x="1395" y="555"/>
                  </a:cubicBezTo>
                  <a:cubicBezTo>
                    <a:pt x="1392" y="555"/>
                    <a:pt x="1391" y="559"/>
                    <a:pt x="1392" y="560"/>
                  </a:cubicBezTo>
                  <a:cubicBezTo>
                    <a:pt x="1390" y="558"/>
                    <a:pt x="1390" y="553"/>
                    <a:pt x="1386" y="553"/>
                  </a:cubicBezTo>
                  <a:cubicBezTo>
                    <a:pt x="1385" y="553"/>
                    <a:pt x="1385" y="554"/>
                    <a:pt x="1385" y="554"/>
                  </a:cubicBezTo>
                  <a:cubicBezTo>
                    <a:pt x="1384" y="559"/>
                    <a:pt x="1389" y="563"/>
                    <a:pt x="1388" y="567"/>
                  </a:cubicBezTo>
                  <a:cubicBezTo>
                    <a:pt x="1388" y="567"/>
                    <a:pt x="1386" y="565"/>
                    <a:pt x="1386" y="565"/>
                  </a:cubicBezTo>
                  <a:cubicBezTo>
                    <a:pt x="1384" y="564"/>
                    <a:pt x="1384" y="562"/>
                    <a:pt x="1382" y="561"/>
                  </a:cubicBezTo>
                  <a:cubicBezTo>
                    <a:pt x="1382" y="560"/>
                    <a:pt x="1381" y="561"/>
                    <a:pt x="1381" y="561"/>
                  </a:cubicBezTo>
                  <a:cubicBezTo>
                    <a:pt x="1379" y="563"/>
                    <a:pt x="1378" y="562"/>
                    <a:pt x="1376" y="563"/>
                  </a:cubicBezTo>
                  <a:cubicBezTo>
                    <a:pt x="1376" y="563"/>
                    <a:pt x="1375" y="563"/>
                    <a:pt x="1375" y="563"/>
                  </a:cubicBezTo>
                  <a:cubicBezTo>
                    <a:pt x="1375" y="565"/>
                    <a:pt x="1375" y="566"/>
                    <a:pt x="1376" y="567"/>
                  </a:cubicBezTo>
                  <a:cubicBezTo>
                    <a:pt x="1377" y="569"/>
                    <a:pt x="1378" y="569"/>
                    <a:pt x="1378" y="571"/>
                  </a:cubicBezTo>
                  <a:cubicBezTo>
                    <a:pt x="1378" y="572"/>
                    <a:pt x="1377" y="573"/>
                    <a:pt x="1378" y="573"/>
                  </a:cubicBezTo>
                  <a:cubicBezTo>
                    <a:pt x="1378" y="574"/>
                    <a:pt x="1379" y="575"/>
                    <a:pt x="1380" y="575"/>
                  </a:cubicBezTo>
                  <a:cubicBezTo>
                    <a:pt x="1382" y="575"/>
                    <a:pt x="1383" y="580"/>
                    <a:pt x="1385" y="581"/>
                  </a:cubicBezTo>
                  <a:cubicBezTo>
                    <a:pt x="1386" y="582"/>
                    <a:pt x="1388" y="584"/>
                    <a:pt x="1389" y="586"/>
                  </a:cubicBezTo>
                  <a:cubicBezTo>
                    <a:pt x="1389" y="588"/>
                    <a:pt x="1388" y="590"/>
                    <a:pt x="1390" y="592"/>
                  </a:cubicBezTo>
                  <a:cubicBezTo>
                    <a:pt x="1391" y="593"/>
                    <a:pt x="1392" y="594"/>
                    <a:pt x="1394" y="596"/>
                  </a:cubicBezTo>
                  <a:cubicBezTo>
                    <a:pt x="1395" y="598"/>
                    <a:pt x="1394" y="599"/>
                    <a:pt x="1394" y="601"/>
                  </a:cubicBezTo>
                  <a:cubicBezTo>
                    <a:pt x="1395" y="603"/>
                    <a:pt x="1395" y="605"/>
                    <a:pt x="1396" y="607"/>
                  </a:cubicBezTo>
                  <a:cubicBezTo>
                    <a:pt x="1396" y="607"/>
                    <a:pt x="1396" y="607"/>
                    <a:pt x="1396" y="608"/>
                  </a:cubicBezTo>
                  <a:cubicBezTo>
                    <a:pt x="1395" y="609"/>
                    <a:pt x="1395" y="612"/>
                    <a:pt x="1396" y="614"/>
                  </a:cubicBezTo>
                  <a:cubicBezTo>
                    <a:pt x="1396" y="617"/>
                    <a:pt x="1396" y="619"/>
                    <a:pt x="1396" y="622"/>
                  </a:cubicBezTo>
                  <a:cubicBezTo>
                    <a:pt x="1397" y="623"/>
                    <a:pt x="1398" y="629"/>
                    <a:pt x="1394" y="627"/>
                  </a:cubicBezTo>
                  <a:cubicBezTo>
                    <a:pt x="1393" y="626"/>
                    <a:pt x="1393" y="626"/>
                    <a:pt x="1392" y="626"/>
                  </a:cubicBezTo>
                  <a:cubicBezTo>
                    <a:pt x="1390" y="625"/>
                    <a:pt x="1389" y="623"/>
                    <a:pt x="1387" y="623"/>
                  </a:cubicBezTo>
                  <a:cubicBezTo>
                    <a:pt x="1387" y="623"/>
                    <a:pt x="1386" y="623"/>
                    <a:pt x="1386" y="623"/>
                  </a:cubicBezTo>
                  <a:cubicBezTo>
                    <a:pt x="1383" y="624"/>
                    <a:pt x="1381" y="622"/>
                    <a:pt x="1379" y="620"/>
                  </a:cubicBezTo>
                  <a:cubicBezTo>
                    <a:pt x="1377" y="618"/>
                    <a:pt x="1374" y="619"/>
                    <a:pt x="1371" y="619"/>
                  </a:cubicBezTo>
                  <a:cubicBezTo>
                    <a:pt x="1371" y="618"/>
                    <a:pt x="1369" y="616"/>
                    <a:pt x="1368" y="617"/>
                  </a:cubicBezTo>
                  <a:cubicBezTo>
                    <a:pt x="1366" y="617"/>
                    <a:pt x="1366" y="618"/>
                    <a:pt x="1366" y="619"/>
                  </a:cubicBezTo>
                  <a:cubicBezTo>
                    <a:pt x="1365" y="622"/>
                    <a:pt x="1362" y="620"/>
                    <a:pt x="1361" y="622"/>
                  </a:cubicBezTo>
                  <a:cubicBezTo>
                    <a:pt x="1360" y="623"/>
                    <a:pt x="1360" y="624"/>
                    <a:pt x="1361" y="625"/>
                  </a:cubicBezTo>
                  <a:cubicBezTo>
                    <a:pt x="1361" y="626"/>
                    <a:pt x="1362" y="628"/>
                    <a:pt x="1363" y="629"/>
                  </a:cubicBezTo>
                  <a:cubicBezTo>
                    <a:pt x="1364" y="631"/>
                    <a:pt x="1366" y="632"/>
                    <a:pt x="1364" y="634"/>
                  </a:cubicBezTo>
                  <a:cubicBezTo>
                    <a:pt x="1363" y="635"/>
                    <a:pt x="1364" y="636"/>
                    <a:pt x="1364" y="637"/>
                  </a:cubicBezTo>
                  <a:cubicBezTo>
                    <a:pt x="1365" y="643"/>
                    <a:pt x="1366" y="647"/>
                    <a:pt x="1366" y="652"/>
                  </a:cubicBezTo>
                  <a:cubicBezTo>
                    <a:pt x="1366" y="656"/>
                    <a:pt x="1366" y="659"/>
                    <a:pt x="1366" y="663"/>
                  </a:cubicBezTo>
                  <a:cubicBezTo>
                    <a:pt x="1365" y="666"/>
                    <a:pt x="1364" y="668"/>
                    <a:pt x="1362" y="671"/>
                  </a:cubicBezTo>
                  <a:cubicBezTo>
                    <a:pt x="1362" y="673"/>
                    <a:pt x="1362" y="676"/>
                    <a:pt x="1365" y="676"/>
                  </a:cubicBezTo>
                  <a:cubicBezTo>
                    <a:pt x="1365" y="676"/>
                    <a:pt x="1366" y="676"/>
                    <a:pt x="1366" y="676"/>
                  </a:cubicBezTo>
                  <a:cubicBezTo>
                    <a:pt x="1366" y="676"/>
                    <a:pt x="1366" y="676"/>
                    <a:pt x="1366" y="677"/>
                  </a:cubicBezTo>
                  <a:cubicBezTo>
                    <a:pt x="1365" y="679"/>
                    <a:pt x="1365" y="680"/>
                    <a:pt x="1366" y="681"/>
                  </a:cubicBezTo>
                  <a:cubicBezTo>
                    <a:pt x="1366" y="681"/>
                    <a:pt x="1367" y="682"/>
                    <a:pt x="1367" y="681"/>
                  </a:cubicBezTo>
                  <a:cubicBezTo>
                    <a:pt x="1367" y="681"/>
                    <a:pt x="1368" y="681"/>
                    <a:pt x="1368" y="681"/>
                  </a:cubicBezTo>
                  <a:cubicBezTo>
                    <a:pt x="1368" y="683"/>
                    <a:pt x="1368" y="684"/>
                    <a:pt x="1368" y="686"/>
                  </a:cubicBezTo>
                  <a:cubicBezTo>
                    <a:pt x="1369" y="690"/>
                    <a:pt x="1367" y="692"/>
                    <a:pt x="1369" y="696"/>
                  </a:cubicBezTo>
                  <a:cubicBezTo>
                    <a:pt x="1369" y="696"/>
                    <a:pt x="1369" y="697"/>
                    <a:pt x="1370" y="697"/>
                  </a:cubicBezTo>
                  <a:cubicBezTo>
                    <a:pt x="1372" y="696"/>
                    <a:pt x="1373" y="698"/>
                    <a:pt x="1375" y="698"/>
                  </a:cubicBezTo>
                  <a:cubicBezTo>
                    <a:pt x="1377" y="697"/>
                    <a:pt x="1379" y="697"/>
                    <a:pt x="1380" y="701"/>
                  </a:cubicBezTo>
                  <a:cubicBezTo>
                    <a:pt x="1381" y="704"/>
                    <a:pt x="1383" y="709"/>
                    <a:pt x="1387" y="710"/>
                  </a:cubicBezTo>
                  <a:cubicBezTo>
                    <a:pt x="1389" y="711"/>
                    <a:pt x="1388" y="709"/>
                    <a:pt x="1390" y="708"/>
                  </a:cubicBezTo>
                  <a:cubicBezTo>
                    <a:pt x="1391" y="707"/>
                    <a:pt x="1393" y="704"/>
                    <a:pt x="1394" y="704"/>
                  </a:cubicBezTo>
                  <a:cubicBezTo>
                    <a:pt x="1395" y="704"/>
                    <a:pt x="1396" y="702"/>
                    <a:pt x="1398" y="705"/>
                  </a:cubicBezTo>
                  <a:cubicBezTo>
                    <a:pt x="1398" y="705"/>
                    <a:pt x="1399" y="705"/>
                    <a:pt x="1399" y="706"/>
                  </a:cubicBezTo>
                  <a:cubicBezTo>
                    <a:pt x="1400" y="706"/>
                    <a:pt x="1400" y="706"/>
                    <a:pt x="1401" y="705"/>
                  </a:cubicBezTo>
                  <a:cubicBezTo>
                    <a:pt x="1401" y="705"/>
                    <a:pt x="1401" y="705"/>
                    <a:pt x="1401" y="704"/>
                  </a:cubicBezTo>
                  <a:cubicBezTo>
                    <a:pt x="1401" y="704"/>
                    <a:pt x="1401" y="704"/>
                    <a:pt x="1402" y="705"/>
                  </a:cubicBezTo>
                  <a:cubicBezTo>
                    <a:pt x="1402" y="705"/>
                    <a:pt x="1403" y="705"/>
                    <a:pt x="1403" y="704"/>
                  </a:cubicBezTo>
                  <a:cubicBezTo>
                    <a:pt x="1404" y="699"/>
                    <a:pt x="1408" y="697"/>
                    <a:pt x="1409" y="691"/>
                  </a:cubicBezTo>
                  <a:cubicBezTo>
                    <a:pt x="1409" y="690"/>
                    <a:pt x="1409" y="688"/>
                    <a:pt x="1410" y="686"/>
                  </a:cubicBezTo>
                  <a:cubicBezTo>
                    <a:pt x="1410" y="686"/>
                    <a:pt x="1411" y="686"/>
                    <a:pt x="1411" y="685"/>
                  </a:cubicBezTo>
                  <a:cubicBezTo>
                    <a:pt x="1411" y="683"/>
                    <a:pt x="1409" y="680"/>
                    <a:pt x="1408" y="678"/>
                  </a:cubicBezTo>
                  <a:cubicBezTo>
                    <a:pt x="1407" y="672"/>
                    <a:pt x="1409" y="667"/>
                    <a:pt x="1411" y="661"/>
                  </a:cubicBezTo>
                  <a:cubicBezTo>
                    <a:pt x="1412" y="656"/>
                    <a:pt x="1417" y="656"/>
                    <a:pt x="1417" y="651"/>
                  </a:cubicBezTo>
                  <a:cubicBezTo>
                    <a:pt x="1416" y="648"/>
                    <a:pt x="1417" y="645"/>
                    <a:pt x="1416" y="642"/>
                  </a:cubicBezTo>
                  <a:cubicBezTo>
                    <a:pt x="1416" y="639"/>
                    <a:pt x="1415" y="638"/>
                    <a:pt x="1416" y="636"/>
                  </a:cubicBezTo>
                  <a:cubicBezTo>
                    <a:pt x="1417" y="635"/>
                    <a:pt x="1417" y="634"/>
                    <a:pt x="1417" y="633"/>
                  </a:cubicBezTo>
                  <a:cubicBezTo>
                    <a:pt x="1417" y="631"/>
                    <a:pt x="1421" y="636"/>
                    <a:pt x="1421" y="637"/>
                  </a:cubicBezTo>
                  <a:cubicBezTo>
                    <a:pt x="1422" y="639"/>
                    <a:pt x="1421" y="640"/>
                    <a:pt x="1423" y="642"/>
                  </a:cubicBezTo>
                  <a:cubicBezTo>
                    <a:pt x="1426" y="643"/>
                    <a:pt x="1427" y="639"/>
                    <a:pt x="1427" y="638"/>
                  </a:cubicBezTo>
                  <a:cubicBezTo>
                    <a:pt x="1427" y="635"/>
                    <a:pt x="1429" y="634"/>
                    <a:pt x="1430" y="632"/>
                  </a:cubicBezTo>
                  <a:cubicBezTo>
                    <a:pt x="1430" y="632"/>
                    <a:pt x="1430" y="631"/>
                    <a:pt x="1430" y="631"/>
                  </a:cubicBezTo>
                  <a:cubicBezTo>
                    <a:pt x="1433" y="634"/>
                    <a:pt x="1434" y="640"/>
                    <a:pt x="1435" y="642"/>
                  </a:cubicBezTo>
                  <a:cubicBezTo>
                    <a:pt x="1437" y="645"/>
                    <a:pt x="1437" y="650"/>
                    <a:pt x="1438" y="653"/>
                  </a:cubicBezTo>
                  <a:cubicBezTo>
                    <a:pt x="1439" y="657"/>
                    <a:pt x="1440" y="662"/>
                    <a:pt x="1442" y="665"/>
                  </a:cubicBezTo>
                  <a:cubicBezTo>
                    <a:pt x="1443" y="667"/>
                    <a:pt x="1445" y="668"/>
                    <a:pt x="1445" y="669"/>
                  </a:cubicBezTo>
                  <a:cubicBezTo>
                    <a:pt x="1446" y="674"/>
                    <a:pt x="1447" y="678"/>
                    <a:pt x="1448" y="682"/>
                  </a:cubicBezTo>
                  <a:cubicBezTo>
                    <a:pt x="1449" y="686"/>
                    <a:pt x="1451" y="691"/>
                    <a:pt x="1451" y="695"/>
                  </a:cubicBezTo>
                  <a:cubicBezTo>
                    <a:pt x="1451" y="697"/>
                    <a:pt x="1453" y="700"/>
                    <a:pt x="1450" y="701"/>
                  </a:cubicBezTo>
                  <a:cubicBezTo>
                    <a:pt x="1449" y="702"/>
                    <a:pt x="1448" y="702"/>
                    <a:pt x="1447" y="701"/>
                  </a:cubicBezTo>
                  <a:cubicBezTo>
                    <a:pt x="1447" y="701"/>
                    <a:pt x="1447" y="702"/>
                    <a:pt x="1446" y="702"/>
                  </a:cubicBezTo>
                  <a:cubicBezTo>
                    <a:pt x="1446" y="703"/>
                    <a:pt x="1446" y="703"/>
                    <a:pt x="1447" y="704"/>
                  </a:cubicBezTo>
                  <a:cubicBezTo>
                    <a:pt x="1448" y="706"/>
                    <a:pt x="1448" y="707"/>
                    <a:pt x="1449" y="710"/>
                  </a:cubicBezTo>
                  <a:cubicBezTo>
                    <a:pt x="1449" y="713"/>
                    <a:pt x="1450" y="716"/>
                    <a:pt x="1453" y="718"/>
                  </a:cubicBezTo>
                  <a:cubicBezTo>
                    <a:pt x="1453" y="718"/>
                    <a:pt x="1454" y="718"/>
                    <a:pt x="1454" y="718"/>
                  </a:cubicBezTo>
                  <a:cubicBezTo>
                    <a:pt x="1454" y="717"/>
                    <a:pt x="1454" y="716"/>
                    <a:pt x="1454" y="714"/>
                  </a:cubicBezTo>
                  <a:cubicBezTo>
                    <a:pt x="1454" y="711"/>
                    <a:pt x="1453" y="709"/>
                    <a:pt x="1453" y="706"/>
                  </a:cubicBezTo>
                  <a:cubicBezTo>
                    <a:pt x="1454" y="704"/>
                    <a:pt x="1454" y="702"/>
                    <a:pt x="1454" y="699"/>
                  </a:cubicBezTo>
                  <a:cubicBezTo>
                    <a:pt x="1454" y="695"/>
                    <a:pt x="1454" y="691"/>
                    <a:pt x="1453" y="687"/>
                  </a:cubicBezTo>
                  <a:cubicBezTo>
                    <a:pt x="1453" y="684"/>
                    <a:pt x="1453" y="680"/>
                    <a:pt x="1451" y="676"/>
                  </a:cubicBezTo>
                  <a:cubicBezTo>
                    <a:pt x="1450" y="672"/>
                    <a:pt x="1450" y="667"/>
                    <a:pt x="1449" y="663"/>
                  </a:cubicBezTo>
                  <a:cubicBezTo>
                    <a:pt x="1448" y="661"/>
                    <a:pt x="1447" y="659"/>
                    <a:pt x="1447" y="657"/>
                  </a:cubicBezTo>
                  <a:cubicBezTo>
                    <a:pt x="1447" y="655"/>
                    <a:pt x="1446" y="653"/>
                    <a:pt x="1445" y="651"/>
                  </a:cubicBezTo>
                  <a:cubicBezTo>
                    <a:pt x="1445" y="650"/>
                    <a:pt x="1443" y="649"/>
                    <a:pt x="1442" y="647"/>
                  </a:cubicBezTo>
                  <a:cubicBezTo>
                    <a:pt x="1442" y="645"/>
                    <a:pt x="1442" y="642"/>
                    <a:pt x="1441" y="640"/>
                  </a:cubicBezTo>
                  <a:cubicBezTo>
                    <a:pt x="1441" y="638"/>
                    <a:pt x="1439" y="636"/>
                    <a:pt x="1438" y="635"/>
                  </a:cubicBezTo>
                  <a:cubicBezTo>
                    <a:pt x="1437" y="631"/>
                    <a:pt x="1437" y="629"/>
                    <a:pt x="1437" y="625"/>
                  </a:cubicBezTo>
                  <a:cubicBezTo>
                    <a:pt x="1437" y="624"/>
                    <a:pt x="1437" y="623"/>
                    <a:pt x="1437" y="622"/>
                  </a:cubicBezTo>
                  <a:cubicBezTo>
                    <a:pt x="1438" y="624"/>
                    <a:pt x="1438" y="624"/>
                    <a:pt x="1438" y="626"/>
                  </a:cubicBezTo>
                  <a:close/>
                  <a:moveTo>
                    <a:pt x="1453" y="682"/>
                  </a:moveTo>
                  <a:cubicBezTo>
                    <a:pt x="1453" y="683"/>
                    <a:pt x="1453" y="684"/>
                    <a:pt x="1454" y="686"/>
                  </a:cubicBezTo>
                  <a:cubicBezTo>
                    <a:pt x="1454" y="684"/>
                    <a:pt x="1453" y="683"/>
                    <a:pt x="1453" y="682"/>
                  </a:cubicBezTo>
                  <a:close/>
                  <a:moveTo>
                    <a:pt x="903" y="482"/>
                  </a:moveTo>
                  <a:cubicBezTo>
                    <a:pt x="905" y="483"/>
                    <a:pt x="908" y="485"/>
                    <a:pt x="910" y="484"/>
                  </a:cubicBezTo>
                  <a:cubicBezTo>
                    <a:pt x="912" y="484"/>
                    <a:pt x="913" y="482"/>
                    <a:pt x="911" y="480"/>
                  </a:cubicBezTo>
                  <a:cubicBezTo>
                    <a:pt x="909" y="478"/>
                    <a:pt x="906" y="476"/>
                    <a:pt x="904" y="474"/>
                  </a:cubicBezTo>
                  <a:cubicBezTo>
                    <a:pt x="903" y="472"/>
                    <a:pt x="902" y="471"/>
                    <a:pt x="900" y="470"/>
                  </a:cubicBezTo>
                  <a:cubicBezTo>
                    <a:pt x="897" y="468"/>
                    <a:pt x="894" y="468"/>
                    <a:pt x="892" y="467"/>
                  </a:cubicBezTo>
                  <a:cubicBezTo>
                    <a:pt x="889" y="467"/>
                    <a:pt x="885" y="466"/>
                    <a:pt x="882" y="466"/>
                  </a:cubicBezTo>
                  <a:cubicBezTo>
                    <a:pt x="882" y="466"/>
                    <a:pt x="881" y="466"/>
                    <a:pt x="881" y="467"/>
                  </a:cubicBezTo>
                  <a:cubicBezTo>
                    <a:pt x="881" y="470"/>
                    <a:pt x="884" y="471"/>
                    <a:pt x="886" y="472"/>
                  </a:cubicBezTo>
                  <a:cubicBezTo>
                    <a:pt x="889" y="474"/>
                    <a:pt x="890" y="474"/>
                    <a:pt x="891" y="476"/>
                  </a:cubicBezTo>
                  <a:cubicBezTo>
                    <a:pt x="892" y="478"/>
                    <a:pt x="892" y="477"/>
                    <a:pt x="893" y="478"/>
                  </a:cubicBezTo>
                  <a:cubicBezTo>
                    <a:pt x="895" y="480"/>
                    <a:pt x="899" y="480"/>
                    <a:pt x="902" y="482"/>
                  </a:cubicBezTo>
                  <a:cubicBezTo>
                    <a:pt x="902" y="482"/>
                    <a:pt x="903" y="482"/>
                    <a:pt x="903" y="482"/>
                  </a:cubicBezTo>
                  <a:close/>
                  <a:moveTo>
                    <a:pt x="1437" y="690"/>
                  </a:moveTo>
                  <a:cubicBezTo>
                    <a:pt x="1437" y="690"/>
                    <a:pt x="1438" y="690"/>
                    <a:pt x="1438" y="690"/>
                  </a:cubicBezTo>
                  <a:cubicBezTo>
                    <a:pt x="1439" y="688"/>
                    <a:pt x="1438" y="687"/>
                    <a:pt x="1439" y="685"/>
                  </a:cubicBezTo>
                  <a:cubicBezTo>
                    <a:pt x="1441" y="684"/>
                    <a:pt x="1439" y="679"/>
                    <a:pt x="1439" y="677"/>
                  </a:cubicBezTo>
                  <a:cubicBezTo>
                    <a:pt x="1440" y="673"/>
                    <a:pt x="1440" y="665"/>
                    <a:pt x="1436" y="662"/>
                  </a:cubicBezTo>
                  <a:cubicBezTo>
                    <a:pt x="1436" y="662"/>
                    <a:pt x="1436" y="662"/>
                    <a:pt x="1436" y="662"/>
                  </a:cubicBezTo>
                  <a:cubicBezTo>
                    <a:pt x="1435" y="662"/>
                    <a:pt x="1435" y="662"/>
                    <a:pt x="1435" y="662"/>
                  </a:cubicBezTo>
                  <a:cubicBezTo>
                    <a:pt x="1435" y="662"/>
                    <a:pt x="1435" y="663"/>
                    <a:pt x="1435" y="663"/>
                  </a:cubicBezTo>
                  <a:cubicBezTo>
                    <a:pt x="1435" y="663"/>
                    <a:pt x="1435" y="663"/>
                    <a:pt x="1435" y="663"/>
                  </a:cubicBezTo>
                  <a:cubicBezTo>
                    <a:pt x="1434" y="665"/>
                    <a:pt x="1433" y="666"/>
                    <a:pt x="1433" y="669"/>
                  </a:cubicBezTo>
                  <a:cubicBezTo>
                    <a:pt x="1434" y="671"/>
                    <a:pt x="1434" y="675"/>
                    <a:pt x="1435" y="677"/>
                  </a:cubicBezTo>
                  <a:cubicBezTo>
                    <a:pt x="1436" y="681"/>
                    <a:pt x="1434" y="688"/>
                    <a:pt x="1437" y="690"/>
                  </a:cubicBezTo>
                  <a:close/>
                  <a:moveTo>
                    <a:pt x="1343" y="506"/>
                  </a:moveTo>
                  <a:cubicBezTo>
                    <a:pt x="1342" y="507"/>
                    <a:pt x="1340" y="508"/>
                    <a:pt x="1339" y="509"/>
                  </a:cubicBezTo>
                  <a:cubicBezTo>
                    <a:pt x="1339" y="509"/>
                    <a:pt x="1339" y="510"/>
                    <a:pt x="1339" y="511"/>
                  </a:cubicBezTo>
                  <a:cubicBezTo>
                    <a:pt x="1341" y="512"/>
                    <a:pt x="1341" y="512"/>
                    <a:pt x="1342" y="514"/>
                  </a:cubicBezTo>
                  <a:cubicBezTo>
                    <a:pt x="1343" y="516"/>
                    <a:pt x="1345" y="522"/>
                    <a:pt x="1348" y="521"/>
                  </a:cubicBezTo>
                  <a:cubicBezTo>
                    <a:pt x="1350" y="521"/>
                    <a:pt x="1351" y="519"/>
                    <a:pt x="1353" y="518"/>
                  </a:cubicBezTo>
                  <a:cubicBezTo>
                    <a:pt x="1355" y="516"/>
                    <a:pt x="1357" y="518"/>
                    <a:pt x="1359" y="518"/>
                  </a:cubicBezTo>
                  <a:cubicBezTo>
                    <a:pt x="1359" y="518"/>
                    <a:pt x="1359" y="518"/>
                    <a:pt x="1359" y="517"/>
                  </a:cubicBezTo>
                  <a:cubicBezTo>
                    <a:pt x="1360" y="515"/>
                    <a:pt x="1360" y="509"/>
                    <a:pt x="1359" y="507"/>
                  </a:cubicBezTo>
                  <a:cubicBezTo>
                    <a:pt x="1358" y="504"/>
                    <a:pt x="1358" y="502"/>
                    <a:pt x="1357" y="499"/>
                  </a:cubicBezTo>
                  <a:cubicBezTo>
                    <a:pt x="1357" y="497"/>
                    <a:pt x="1356" y="496"/>
                    <a:pt x="1356" y="494"/>
                  </a:cubicBezTo>
                  <a:cubicBezTo>
                    <a:pt x="1356" y="494"/>
                    <a:pt x="1357" y="493"/>
                    <a:pt x="1357" y="492"/>
                  </a:cubicBezTo>
                  <a:cubicBezTo>
                    <a:pt x="1357" y="491"/>
                    <a:pt x="1356" y="487"/>
                    <a:pt x="1355" y="487"/>
                  </a:cubicBezTo>
                  <a:cubicBezTo>
                    <a:pt x="1355" y="487"/>
                    <a:pt x="1355" y="486"/>
                    <a:pt x="1355" y="486"/>
                  </a:cubicBezTo>
                  <a:cubicBezTo>
                    <a:pt x="1355" y="485"/>
                    <a:pt x="1354" y="485"/>
                    <a:pt x="1353" y="484"/>
                  </a:cubicBezTo>
                  <a:cubicBezTo>
                    <a:pt x="1353" y="483"/>
                    <a:pt x="1353" y="483"/>
                    <a:pt x="1352" y="483"/>
                  </a:cubicBezTo>
                  <a:cubicBezTo>
                    <a:pt x="1352" y="482"/>
                    <a:pt x="1352" y="482"/>
                    <a:pt x="1352" y="481"/>
                  </a:cubicBezTo>
                  <a:cubicBezTo>
                    <a:pt x="1351" y="480"/>
                    <a:pt x="1351" y="480"/>
                    <a:pt x="1351" y="480"/>
                  </a:cubicBezTo>
                  <a:cubicBezTo>
                    <a:pt x="1350" y="479"/>
                    <a:pt x="1350" y="480"/>
                    <a:pt x="1349" y="480"/>
                  </a:cubicBezTo>
                  <a:cubicBezTo>
                    <a:pt x="1349" y="480"/>
                    <a:pt x="1348" y="478"/>
                    <a:pt x="1348" y="478"/>
                  </a:cubicBezTo>
                  <a:cubicBezTo>
                    <a:pt x="1348" y="477"/>
                    <a:pt x="1346" y="476"/>
                    <a:pt x="1345" y="476"/>
                  </a:cubicBezTo>
                  <a:cubicBezTo>
                    <a:pt x="1344" y="476"/>
                    <a:pt x="1344" y="478"/>
                    <a:pt x="1343" y="478"/>
                  </a:cubicBezTo>
                  <a:cubicBezTo>
                    <a:pt x="1342" y="479"/>
                    <a:pt x="1341" y="479"/>
                    <a:pt x="1341" y="480"/>
                  </a:cubicBezTo>
                  <a:cubicBezTo>
                    <a:pt x="1341" y="483"/>
                    <a:pt x="1344" y="482"/>
                    <a:pt x="1344" y="485"/>
                  </a:cubicBezTo>
                  <a:cubicBezTo>
                    <a:pt x="1343" y="486"/>
                    <a:pt x="1341" y="485"/>
                    <a:pt x="1340" y="484"/>
                  </a:cubicBezTo>
                  <a:cubicBezTo>
                    <a:pt x="1339" y="483"/>
                    <a:pt x="1338" y="483"/>
                    <a:pt x="1336" y="483"/>
                  </a:cubicBezTo>
                  <a:cubicBezTo>
                    <a:pt x="1336" y="483"/>
                    <a:pt x="1336" y="484"/>
                    <a:pt x="1336" y="484"/>
                  </a:cubicBezTo>
                  <a:cubicBezTo>
                    <a:pt x="1336" y="485"/>
                    <a:pt x="1336" y="488"/>
                    <a:pt x="1337" y="488"/>
                  </a:cubicBezTo>
                  <a:cubicBezTo>
                    <a:pt x="1340" y="490"/>
                    <a:pt x="1337" y="492"/>
                    <a:pt x="1338" y="495"/>
                  </a:cubicBezTo>
                  <a:cubicBezTo>
                    <a:pt x="1339" y="496"/>
                    <a:pt x="1341" y="498"/>
                    <a:pt x="1342" y="499"/>
                  </a:cubicBezTo>
                  <a:cubicBezTo>
                    <a:pt x="1344" y="500"/>
                    <a:pt x="1342" y="502"/>
                    <a:pt x="1342" y="504"/>
                  </a:cubicBezTo>
                  <a:cubicBezTo>
                    <a:pt x="1341" y="504"/>
                    <a:pt x="1342" y="504"/>
                    <a:pt x="1342" y="505"/>
                  </a:cubicBezTo>
                  <a:cubicBezTo>
                    <a:pt x="1343" y="506"/>
                    <a:pt x="1349" y="506"/>
                    <a:pt x="1343" y="506"/>
                  </a:cubicBezTo>
                  <a:close/>
                  <a:moveTo>
                    <a:pt x="711" y="65"/>
                  </a:moveTo>
                  <a:cubicBezTo>
                    <a:pt x="710" y="65"/>
                    <a:pt x="709" y="65"/>
                    <a:pt x="709" y="66"/>
                  </a:cubicBezTo>
                  <a:cubicBezTo>
                    <a:pt x="708" y="66"/>
                    <a:pt x="708" y="68"/>
                    <a:pt x="709" y="69"/>
                  </a:cubicBezTo>
                  <a:cubicBezTo>
                    <a:pt x="711" y="69"/>
                    <a:pt x="712" y="68"/>
                    <a:pt x="712" y="67"/>
                  </a:cubicBezTo>
                  <a:cubicBezTo>
                    <a:pt x="712" y="67"/>
                    <a:pt x="712" y="67"/>
                    <a:pt x="712" y="67"/>
                  </a:cubicBezTo>
                  <a:cubicBezTo>
                    <a:pt x="713" y="67"/>
                    <a:pt x="714" y="65"/>
                    <a:pt x="713" y="65"/>
                  </a:cubicBezTo>
                  <a:cubicBezTo>
                    <a:pt x="712" y="64"/>
                    <a:pt x="711" y="64"/>
                    <a:pt x="711" y="65"/>
                  </a:cubicBezTo>
                  <a:close/>
                  <a:moveTo>
                    <a:pt x="682" y="89"/>
                  </a:moveTo>
                  <a:cubicBezTo>
                    <a:pt x="682" y="89"/>
                    <a:pt x="682" y="89"/>
                    <a:pt x="683" y="88"/>
                  </a:cubicBezTo>
                  <a:cubicBezTo>
                    <a:pt x="684" y="85"/>
                    <a:pt x="687" y="84"/>
                    <a:pt x="690" y="84"/>
                  </a:cubicBezTo>
                  <a:cubicBezTo>
                    <a:pt x="692" y="85"/>
                    <a:pt x="696" y="84"/>
                    <a:pt x="697" y="83"/>
                  </a:cubicBezTo>
                  <a:cubicBezTo>
                    <a:pt x="698" y="83"/>
                    <a:pt x="701" y="83"/>
                    <a:pt x="702" y="82"/>
                  </a:cubicBezTo>
                  <a:cubicBezTo>
                    <a:pt x="704" y="80"/>
                    <a:pt x="701" y="79"/>
                    <a:pt x="705" y="77"/>
                  </a:cubicBezTo>
                  <a:cubicBezTo>
                    <a:pt x="706" y="77"/>
                    <a:pt x="709" y="74"/>
                    <a:pt x="710" y="73"/>
                  </a:cubicBezTo>
                  <a:cubicBezTo>
                    <a:pt x="711" y="71"/>
                    <a:pt x="710" y="71"/>
                    <a:pt x="708" y="71"/>
                  </a:cubicBezTo>
                  <a:cubicBezTo>
                    <a:pt x="707" y="71"/>
                    <a:pt x="708" y="68"/>
                    <a:pt x="707" y="67"/>
                  </a:cubicBezTo>
                  <a:cubicBezTo>
                    <a:pt x="707" y="67"/>
                    <a:pt x="706" y="66"/>
                    <a:pt x="705" y="66"/>
                  </a:cubicBezTo>
                  <a:cubicBezTo>
                    <a:pt x="705" y="65"/>
                    <a:pt x="705" y="65"/>
                    <a:pt x="704" y="65"/>
                  </a:cubicBezTo>
                  <a:cubicBezTo>
                    <a:pt x="704" y="64"/>
                    <a:pt x="701" y="63"/>
                    <a:pt x="703" y="63"/>
                  </a:cubicBezTo>
                  <a:cubicBezTo>
                    <a:pt x="705" y="63"/>
                    <a:pt x="707" y="63"/>
                    <a:pt x="709" y="63"/>
                  </a:cubicBezTo>
                  <a:cubicBezTo>
                    <a:pt x="710" y="63"/>
                    <a:pt x="711" y="62"/>
                    <a:pt x="711" y="61"/>
                  </a:cubicBezTo>
                  <a:cubicBezTo>
                    <a:pt x="712" y="58"/>
                    <a:pt x="717" y="59"/>
                    <a:pt x="718" y="57"/>
                  </a:cubicBezTo>
                  <a:cubicBezTo>
                    <a:pt x="719" y="56"/>
                    <a:pt x="719" y="56"/>
                    <a:pt x="718" y="56"/>
                  </a:cubicBezTo>
                  <a:cubicBezTo>
                    <a:pt x="716" y="54"/>
                    <a:pt x="712" y="55"/>
                    <a:pt x="710" y="56"/>
                  </a:cubicBezTo>
                  <a:cubicBezTo>
                    <a:pt x="703" y="58"/>
                    <a:pt x="699" y="50"/>
                    <a:pt x="693" y="51"/>
                  </a:cubicBezTo>
                  <a:cubicBezTo>
                    <a:pt x="690" y="51"/>
                    <a:pt x="685" y="51"/>
                    <a:pt x="684" y="54"/>
                  </a:cubicBezTo>
                  <a:cubicBezTo>
                    <a:pt x="684" y="55"/>
                    <a:pt x="685" y="56"/>
                    <a:pt x="682" y="56"/>
                  </a:cubicBezTo>
                  <a:cubicBezTo>
                    <a:pt x="682" y="56"/>
                    <a:pt x="680" y="56"/>
                    <a:pt x="680" y="57"/>
                  </a:cubicBezTo>
                  <a:cubicBezTo>
                    <a:pt x="679" y="59"/>
                    <a:pt x="682" y="60"/>
                    <a:pt x="684" y="60"/>
                  </a:cubicBezTo>
                  <a:cubicBezTo>
                    <a:pt x="687" y="61"/>
                    <a:pt x="685" y="61"/>
                    <a:pt x="683" y="62"/>
                  </a:cubicBezTo>
                  <a:cubicBezTo>
                    <a:pt x="682" y="62"/>
                    <a:pt x="681" y="63"/>
                    <a:pt x="681" y="64"/>
                  </a:cubicBezTo>
                  <a:cubicBezTo>
                    <a:pt x="679" y="70"/>
                    <a:pt x="675" y="62"/>
                    <a:pt x="674" y="61"/>
                  </a:cubicBezTo>
                  <a:cubicBezTo>
                    <a:pt x="673" y="60"/>
                    <a:pt x="671" y="60"/>
                    <a:pt x="670" y="60"/>
                  </a:cubicBezTo>
                  <a:cubicBezTo>
                    <a:pt x="668" y="60"/>
                    <a:pt x="662" y="62"/>
                    <a:pt x="662" y="65"/>
                  </a:cubicBezTo>
                  <a:cubicBezTo>
                    <a:pt x="662" y="66"/>
                    <a:pt x="663" y="68"/>
                    <a:pt x="663" y="68"/>
                  </a:cubicBezTo>
                  <a:cubicBezTo>
                    <a:pt x="663" y="69"/>
                    <a:pt x="661" y="70"/>
                    <a:pt x="662" y="71"/>
                  </a:cubicBezTo>
                  <a:cubicBezTo>
                    <a:pt x="662" y="72"/>
                    <a:pt x="663" y="73"/>
                    <a:pt x="664" y="73"/>
                  </a:cubicBezTo>
                  <a:cubicBezTo>
                    <a:pt x="669" y="74"/>
                    <a:pt x="672" y="81"/>
                    <a:pt x="672" y="85"/>
                  </a:cubicBezTo>
                  <a:cubicBezTo>
                    <a:pt x="672" y="87"/>
                    <a:pt x="676" y="91"/>
                    <a:pt x="678" y="91"/>
                  </a:cubicBezTo>
                  <a:cubicBezTo>
                    <a:pt x="679" y="91"/>
                    <a:pt x="681" y="90"/>
                    <a:pt x="682" y="89"/>
                  </a:cubicBezTo>
                  <a:close/>
                  <a:moveTo>
                    <a:pt x="687" y="30"/>
                  </a:moveTo>
                  <a:cubicBezTo>
                    <a:pt x="685" y="30"/>
                    <a:pt x="685" y="31"/>
                    <a:pt x="684" y="31"/>
                  </a:cubicBezTo>
                  <a:cubicBezTo>
                    <a:pt x="683" y="32"/>
                    <a:pt x="682" y="32"/>
                    <a:pt x="681" y="33"/>
                  </a:cubicBezTo>
                  <a:cubicBezTo>
                    <a:pt x="681" y="33"/>
                    <a:pt x="680" y="33"/>
                    <a:pt x="680" y="33"/>
                  </a:cubicBezTo>
                  <a:cubicBezTo>
                    <a:pt x="680" y="33"/>
                    <a:pt x="680" y="34"/>
                    <a:pt x="680" y="34"/>
                  </a:cubicBezTo>
                  <a:cubicBezTo>
                    <a:pt x="680" y="35"/>
                    <a:pt x="681" y="35"/>
                    <a:pt x="682" y="35"/>
                  </a:cubicBezTo>
                  <a:cubicBezTo>
                    <a:pt x="683" y="35"/>
                    <a:pt x="684" y="35"/>
                    <a:pt x="685" y="36"/>
                  </a:cubicBezTo>
                  <a:cubicBezTo>
                    <a:pt x="686" y="36"/>
                    <a:pt x="687" y="36"/>
                    <a:pt x="688" y="35"/>
                  </a:cubicBezTo>
                  <a:cubicBezTo>
                    <a:pt x="688" y="35"/>
                    <a:pt x="688" y="35"/>
                    <a:pt x="688" y="34"/>
                  </a:cubicBezTo>
                  <a:cubicBezTo>
                    <a:pt x="688" y="34"/>
                    <a:pt x="689" y="33"/>
                    <a:pt x="688" y="32"/>
                  </a:cubicBezTo>
                  <a:cubicBezTo>
                    <a:pt x="687" y="31"/>
                    <a:pt x="688" y="30"/>
                    <a:pt x="687" y="30"/>
                  </a:cubicBezTo>
                  <a:close/>
                  <a:moveTo>
                    <a:pt x="905" y="33"/>
                  </a:moveTo>
                  <a:cubicBezTo>
                    <a:pt x="902" y="33"/>
                    <a:pt x="899" y="32"/>
                    <a:pt x="897" y="32"/>
                  </a:cubicBezTo>
                  <a:cubicBezTo>
                    <a:pt x="893" y="31"/>
                    <a:pt x="889" y="30"/>
                    <a:pt x="886" y="29"/>
                  </a:cubicBezTo>
                  <a:cubicBezTo>
                    <a:pt x="884" y="27"/>
                    <a:pt x="881" y="26"/>
                    <a:pt x="878" y="27"/>
                  </a:cubicBezTo>
                  <a:cubicBezTo>
                    <a:pt x="878" y="27"/>
                    <a:pt x="878" y="27"/>
                    <a:pt x="878" y="27"/>
                  </a:cubicBezTo>
                  <a:cubicBezTo>
                    <a:pt x="878" y="29"/>
                    <a:pt x="873" y="26"/>
                    <a:pt x="872" y="26"/>
                  </a:cubicBezTo>
                  <a:cubicBezTo>
                    <a:pt x="869" y="24"/>
                    <a:pt x="866" y="24"/>
                    <a:pt x="864" y="23"/>
                  </a:cubicBezTo>
                  <a:cubicBezTo>
                    <a:pt x="863" y="23"/>
                    <a:pt x="862" y="23"/>
                    <a:pt x="861" y="23"/>
                  </a:cubicBezTo>
                  <a:cubicBezTo>
                    <a:pt x="858" y="22"/>
                    <a:pt x="856" y="20"/>
                    <a:pt x="853" y="21"/>
                  </a:cubicBezTo>
                  <a:cubicBezTo>
                    <a:pt x="853" y="21"/>
                    <a:pt x="853" y="22"/>
                    <a:pt x="853" y="22"/>
                  </a:cubicBezTo>
                  <a:cubicBezTo>
                    <a:pt x="854" y="23"/>
                    <a:pt x="854" y="23"/>
                    <a:pt x="855" y="24"/>
                  </a:cubicBezTo>
                  <a:cubicBezTo>
                    <a:pt x="855" y="24"/>
                    <a:pt x="856" y="27"/>
                    <a:pt x="856" y="27"/>
                  </a:cubicBezTo>
                  <a:cubicBezTo>
                    <a:pt x="857" y="28"/>
                    <a:pt x="856" y="27"/>
                    <a:pt x="855" y="28"/>
                  </a:cubicBezTo>
                  <a:cubicBezTo>
                    <a:pt x="854" y="28"/>
                    <a:pt x="854" y="29"/>
                    <a:pt x="854" y="29"/>
                  </a:cubicBezTo>
                  <a:cubicBezTo>
                    <a:pt x="855" y="30"/>
                    <a:pt x="854" y="29"/>
                    <a:pt x="854" y="29"/>
                  </a:cubicBezTo>
                  <a:cubicBezTo>
                    <a:pt x="852" y="29"/>
                    <a:pt x="849" y="27"/>
                    <a:pt x="847" y="27"/>
                  </a:cubicBezTo>
                  <a:cubicBezTo>
                    <a:pt x="843" y="27"/>
                    <a:pt x="840" y="28"/>
                    <a:pt x="836" y="28"/>
                  </a:cubicBezTo>
                  <a:cubicBezTo>
                    <a:pt x="836" y="28"/>
                    <a:pt x="826" y="27"/>
                    <a:pt x="829" y="30"/>
                  </a:cubicBezTo>
                  <a:cubicBezTo>
                    <a:pt x="831" y="32"/>
                    <a:pt x="834" y="32"/>
                    <a:pt x="835" y="32"/>
                  </a:cubicBezTo>
                  <a:cubicBezTo>
                    <a:pt x="839" y="33"/>
                    <a:pt x="840" y="34"/>
                    <a:pt x="843" y="33"/>
                  </a:cubicBezTo>
                  <a:cubicBezTo>
                    <a:pt x="845" y="33"/>
                    <a:pt x="846" y="32"/>
                    <a:pt x="848" y="31"/>
                  </a:cubicBezTo>
                  <a:cubicBezTo>
                    <a:pt x="848" y="31"/>
                    <a:pt x="848" y="32"/>
                    <a:pt x="847" y="32"/>
                  </a:cubicBezTo>
                  <a:cubicBezTo>
                    <a:pt x="846" y="33"/>
                    <a:pt x="845" y="34"/>
                    <a:pt x="843" y="34"/>
                  </a:cubicBezTo>
                  <a:cubicBezTo>
                    <a:pt x="842" y="34"/>
                    <a:pt x="840" y="34"/>
                    <a:pt x="839" y="35"/>
                  </a:cubicBezTo>
                  <a:cubicBezTo>
                    <a:pt x="839" y="35"/>
                    <a:pt x="839" y="36"/>
                    <a:pt x="839" y="36"/>
                  </a:cubicBezTo>
                  <a:cubicBezTo>
                    <a:pt x="842" y="38"/>
                    <a:pt x="845" y="39"/>
                    <a:pt x="848" y="40"/>
                  </a:cubicBezTo>
                  <a:cubicBezTo>
                    <a:pt x="844" y="39"/>
                    <a:pt x="841" y="38"/>
                    <a:pt x="838" y="37"/>
                  </a:cubicBezTo>
                  <a:cubicBezTo>
                    <a:pt x="837" y="36"/>
                    <a:pt x="836" y="34"/>
                    <a:pt x="834" y="34"/>
                  </a:cubicBezTo>
                  <a:cubicBezTo>
                    <a:pt x="833" y="33"/>
                    <a:pt x="831" y="33"/>
                    <a:pt x="829" y="32"/>
                  </a:cubicBezTo>
                  <a:cubicBezTo>
                    <a:pt x="827" y="31"/>
                    <a:pt x="824" y="30"/>
                    <a:pt x="822" y="31"/>
                  </a:cubicBezTo>
                  <a:cubicBezTo>
                    <a:pt x="822" y="31"/>
                    <a:pt x="822" y="31"/>
                    <a:pt x="822" y="32"/>
                  </a:cubicBezTo>
                  <a:cubicBezTo>
                    <a:pt x="822" y="34"/>
                    <a:pt x="822" y="34"/>
                    <a:pt x="824" y="35"/>
                  </a:cubicBezTo>
                  <a:cubicBezTo>
                    <a:pt x="824" y="35"/>
                    <a:pt x="825" y="36"/>
                    <a:pt x="825" y="36"/>
                  </a:cubicBezTo>
                  <a:cubicBezTo>
                    <a:pt x="826" y="37"/>
                    <a:pt x="831" y="38"/>
                    <a:pt x="827" y="38"/>
                  </a:cubicBezTo>
                  <a:cubicBezTo>
                    <a:pt x="822" y="36"/>
                    <a:pt x="816" y="35"/>
                    <a:pt x="811" y="35"/>
                  </a:cubicBezTo>
                  <a:cubicBezTo>
                    <a:pt x="808" y="35"/>
                    <a:pt x="802" y="36"/>
                    <a:pt x="801" y="40"/>
                  </a:cubicBezTo>
                  <a:cubicBezTo>
                    <a:pt x="800" y="41"/>
                    <a:pt x="801" y="41"/>
                    <a:pt x="802" y="42"/>
                  </a:cubicBezTo>
                  <a:cubicBezTo>
                    <a:pt x="802" y="42"/>
                    <a:pt x="803" y="42"/>
                    <a:pt x="803" y="42"/>
                  </a:cubicBezTo>
                  <a:cubicBezTo>
                    <a:pt x="806" y="41"/>
                    <a:pt x="805" y="43"/>
                    <a:pt x="807" y="44"/>
                  </a:cubicBezTo>
                  <a:cubicBezTo>
                    <a:pt x="808" y="44"/>
                    <a:pt x="809" y="43"/>
                    <a:pt x="811" y="44"/>
                  </a:cubicBezTo>
                  <a:cubicBezTo>
                    <a:pt x="812" y="46"/>
                    <a:pt x="814" y="45"/>
                    <a:pt x="816" y="46"/>
                  </a:cubicBezTo>
                  <a:cubicBezTo>
                    <a:pt x="817" y="48"/>
                    <a:pt x="821" y="47"/>
                    <a:pt x="823" y="48"/>
                  </a:cubicBezTo>
                  <a:cubicBezTo>
                    <a:pt x="824" y="50"/>
                    <a:pt x="827" y="50"/>
                    <a:pt x="828" y="50"/>
                  </a:cubicBezTo>
                  <a:cubicBezTo>
                    <a:pt x="831" y="50"/>
                    <a:pt x="830" y="48"/>
                    <a:pt x="829" y="47"/>
                  </a:cubicBezTo>
                  <a:cubicBezTo>
                    <a:pt x="827" y="46"/>
                    <a:pt x="831" y="48"/>
                    <a:pt x="832" y="48"/>
                  </a:cubicBezTo>
                  <a:cubicBezTo>
                    <a:pt x="833" y="48"/>
                    <a:pt x="834" y="48"/>
                    <a:pt x="835" y="47"/>
                  </a:cubicBezTo>
                  <a:cubicBezTo>
                    <a:pt x="835" y="49"/>
                    <a:pt x="837" y="50"/>
                    <a:pt x="838" y="50"/>
                  </a:cubicBezTo>
                  <a:cubicBezTo>
                    <a:pt x="841" y="50"/>
                    <a:pt x="844" y="54"/>
                    <a:pt x="847" y="52"/>
                  </a:cubicBezTo>
                  <a:cubicBezTo>
                    <a:pt x="849" y="49"/>
                    <a:pt x="856" y="57"/>
                    <a:pt x="858" y="58"/>
                  </a:cubicBezTo>
                  <a:cubicBezTo>
                    <a:pt x="861" y="59"/>
                    <a:pt x="864" y="58"/>
                    <a:pt x="867" y="59"/>
                  </a:cubicBezTo>
                  <a:cubicBezTo>
                    <a:pt x="869" y="59"/>
                    <a:pt x="870" y="57"/>
                    <a:pt x="872" y="59"/>
                  </a:cubicBezTo>
                  <a:cubicBezTo>
                    <a:pt x="873" y="59"/>
                    <a:pt x="873" y="59"/>
                    <a:pt x="874" y="59"/>
                  </a:cubicBezTo>
                  <a:cubicBezTo>
                    <a:pt x="876" y="58"/>
                    <a:pt x="879" y="59"/>
                    <a:pt x="880" y="58"/>
                  </a:cubicBezTo>
                  <a:cubicBezTo>
                    <a:pt x="882" y="56"/>
                    <a:pt x="879" y="54"/>
                    <a:pt x="877" y="54"/>
                  </a:cubicBezTo>
                  <a:cubicBezTo>
                    <a:pt x="876" y="53"/>
                    <a:pt x="872" y="54"/>
                    <a:pt x="873" y="52"/>
                  </a:cubicBezTo>
                  <a:cubicBezTo>
                    <a:pt x="873" y="52"/>
                    <a:pt x="873" y="51"/>
                    <a:pt x="873" y="51"/>
                  </a:cubicBezTo>
                  <a:cubicBezTo>
                    <a:pt x="873" y="50"/>
                    <a:pt x="873" y="50"/>
                    <a:pt x="873" y="50"/>
                  </a:cubicBezTo>
                  <a:cubicBezTo>
                    <a:pt x="873" y="50"/>
                    <a:pt x="873" y="50"/>
                    <a:pt x="873" y="50"/>
                  </a:cubicBezTo>
                  <a:cubicBezTo>
                    <a:pt x="877" y="50"/>
                    <a:pt x="883" y="51"/>
                    <a:pt x="886" y="48"/>
                  </a:cubicBezTo>
                  <a:cubicBezTo>
                    <a:pt x="886" y="48"/>
                    <a:pt x="886" y="48"/>
                    <a:pt x="886" y="48"/>
                  </a:cubicBezTo>
                  <a:cubicBezTo>
                    <a:pt x="885" y="45"/>
                    <a:pt x="897" y="51"/>
                    <a:pt x="899" y="50"/>
                  </a:cubicBezTo>
                  <a:cubicBezTo>
                    <a:pt x="901" y="50"/>
                    <a:pt x="901" y="51"/>
                    <a:pt x="903" y="50"/>
                  </a:cubicBezTo>
                  <a:cubicBezTo>
                    <a:pt x="904" y="50"/>
                    <a:pt x="906" y="49"/>
                    <a:pt x="907" y="49"/>
                  </a:cubicBezTo>
                  <a:cubicBezTo>
                    <a:pt x="909" y="49"/>
                    <a:pt x="912" y="49"/>
                    <a:pt x="912" y="47"/>
                  </a:cubicBezTo>
                  <a:cubicBezTo>
                    <a:pt x="912" y="47"/>
                    <a:pt x="912" y="46"/>
                    <a:pt x="912" y="46"/>
                  </a:cubicBezTo>
                  <a:cubicBezTo>
                    <a:pt x="909" y="44"/>
                    <a:pt x="906" y="43"/>
                    <a:pt x="903" y="41"/>
                  </a:cubicBezTo>
                  <a:cubicBezTo>
                    <a:pt x="901" y="40"/>
                    <a:pt x="900" y="40"/>
                    <a:pt x="899" y="40"/>
                  </a:cubicBezTo>
                  <a:cubicBezTo>
                    <a:pt x="901" y="40"/>
                    <a:pt x="903" y="40"/>
                    <a:pt x="905" y="40"/>
                  </a:cubicBezTo>
                  <a:cubicBezTo>
                    <a:pt x="910" y="40"/>
                    <a:pt x="914" y="43"/>
                    <a:pt x="918" y="44"/>
                  </a:cubicBezTo>
                  <a:cubicBezTo>
                    <a:pt x="921" y="45"/>
                    <a:pt x="923" y="44"/>
                    <a:pt x="926" y="45"/>
                  </a:cubicBezTo>
                  <a:cubicBezTo>
                    <a:pt x="930" y="46"/>
                    <a:pt x="931" y="49"/>
                    <a:pt x="935" y="48"/>
                  </a:cubicBezTo>
                  <a:cubicBezTo>
                    <a:pt x="938" y="47"/>
                    <a:pt x="945" y="49"/>
                    <a:pt x="948" y="49"/>
                  </a:cubicBezTo>
                  <a:cubicBezTo>
                    <a:pt x="949" y="50"/>
                    <a:pt x="951" y="50"/>
                    <a:pt x="953" y="50"/>
                  </a:cubicBezTo>
                  <a:cubicBezTo>
                    <a:pt x="937" y="44"/>
                    <a:pt x="921" y="38"/>
                    <a:pt x="905" y="33"/>
                  </a:cubicBezTo>
                  <a:cubicBezTo>
                    <a:pt x="905" y="33"/>
                    <a:pt x="905" y="33"/>
                    <a:pt x="905" y="33"/>
                  </a:cubicBezTo>
                  <a:close/>
                  <a:moveTo>
                    <a:pt x="740" y="155"/>
                  </a:moveTo>
                  <a:cubicBezTo>
                    <a:pt x="741" y="155"/>
                    <a:pt x="742" y="154"/>
                    <a:pt x="743" y="153"/>
                  </a:cubicBezTo>
                  <a:cubicBezTo>
                    <a:pt x="745" y="152"/>
                    <a:pt x="745" y="151"/>
                    <a:pt x="745" y="150"/>
                  </a:cubicBezTo>
                  <a:cubicBezTo>
                    <a:pt x="746" y="149"/>
                    <a:pt x="746" y="148"/>
                    <a:pt x="746" y="146"/>
                  </a:cubicBezTo>
                  <a:cubicBezTo>
                    <a:pt x="745" y="146"/>
                    <a:pt x="745" y="145"/>
                    <a:pt x="744" y="146"/>
                  </a:cubicBezTo>
                  <a:cubicBezTo>
                    <a:pt x="743" y="146"/>
                    <a:pt x="741" y="146"/>
                    <a:pt x="741" y="147"/>
                  </a:cubicBezTo>
                  <a:cubicBezTo>
                    <a:pt x="740" y="147"/>
                    <a:pt x="740" y="147"/>
                    <a:pt x="740" y="148"/>
                  </a:cubicBezTo>
                  <a:cubicBezTo>
                    <a:pt x="740" y="149"/>
                    <a:pt x="740" y="150"/>
                    <a:pt x="740" y="150"/>
                  </a:cubicBezTo>
                  <a:cubicBezTo>
                    <a:pt x="740" y="150"/>
                    <a:pt x="739" y="151"/>
                    <a:pt x="740" y="151"/>
                  </a:cubicBezTo>
                  <a:cubicBezTo>
                    <a:pt x="739" y="151"/>
                    <a:pt x="739" y="152"/>
                    <a:pt x="739" y="153"/>
                  </a:cubicBezTo>
                  <a:cubicBezTo>
                    <a:pt x="738" y="154"/>
                    <a:pt x="739" y="155"/>
                    <a:pt x="740" y="155"/>
                  </a:cubicBezTo>
                  <a:close/>
                  <a:moveTo>
                    <a:pt x="680" y="121"/>
                  </a:moveTo>
                  <a:cubicBezTo>
                    <a:pt x="681" y="121"/>
                    <a:pt x="683" y="119"/>
                    <a:pt x="683" y="117"/>
                  </a:cubicBezTo>
                  <a:cubicBezTo>
                    <a:pt x="683" y="116"/>
                    <a:pt x="679" y="116"/>
                    <a:pt x="678" y="116"/>
                  </a:cubicBezTo>
                  <a:cubicBezTo>
                    <a:pt x="678" y="117"/>
                    <a:pt x="677" y="117"/>
                    <a:pt x="677" y="118"/>
                  </a:cubicBezTo>
                  <a:cubicBezTo>
                    <a:pt x="678" y="118"/>
                    <a:pt x="678" y="118"/>
                    <a:pt x="678" y="119"/>
                  </a:cubicBezTo>
                  <a:cubicBezTo>
                    <a:pt x="678" y="119"/>
                    <a:pt x="678" y="119"/>
                    <a:pt x="679" y="119"/>
                  </a:cubicBezTo>
                  <a:cubicBezTo>
                    <a:pt x="678" y="120"/>
                    <a:pt x="678" y="121"/>
                    <a:pt x="680" y="121"/>
                  </a:cubicBezTo>
                  <a:close/>
                  <a:moveTo>
                    <a:pt x="642" y="58"/>
                  </a:moveTo>
                  <a:cubicBezTo>
                    <a:pt x="642" y="59"/>
                    <a:pt x="642" y="61"/>
                    <a:pt x="644" y="61"/>
                  </a:cubicBezTo>
                  <a:cubicBezTo>
                    <a:pt x="646" y="60"/>
                    <a:pt x="649" y="59"/>
                    <a:pt x="651" y="57"/>
                  </a:cubicBezTo>
                  <a:cubicBezTo>
                    <a:pt x="653" y="55"/>
                    <a:pt x="658" y="56"/>
                    <a:pt x="660" y="54"/>
                  </a:cubicBezTo>
                  <a:cubicBezTo>
                    <a:pt x="661" y="53"/>
                    <a:pt x="660" y="50"/>
                    <a:pt x="660" y="50"/>
                  </a:cubicBezTo>
                  <a:cubicBezTo>
                    <a:pt x="659" y="48"/>
                    <a:pt x="656" y="48"/>
                    <a:pt x="655" y="48"/>
                  </a:cubicBezTo>
                  <a:cubicBezTo>
                    <a:pt x="653" y="48"/>
                    <a:pt x="651" y="49"/>
                    <a:pt x="649" y="48"/>
                  </a:cubicBezTo>
                  <a:cubicBezTo>
                    <a:pt x="647" y="48"/>
                    <a:pt x="647" y="47"/>
                    <a:pt x="646" y="48"/>
                  </a:cubicBezTo>
                  <a:cubicBezTo>
                    <a:pt x="644" y="48"/>
                    <a:pt x="642" y="49"/>
                    <a:pt x="641" y="49"/>
                  </a:cubicBezTo>
                  <a:cubicBezTo>
                    <a:pt x="640" y="49"/>
                    <a:pt x="639" y="49"/>
                    <a:pt x="638" y="50"/>
                  </a:cubicBezTo>
                  <a:cubicBezTo>
                    <a:pt x="638" y="50"/>
                    <a:pt x="638" y="51"/>
                    <a:pt x="638" y="51"/>
                  </a:cubicBezTo>
                  <a:cubicBezTo>
                    <a:pt x="640" y="51"/>
                    <a:pt x="641" y="53"/>
                    <a:pt x="642" y="54"/>
                  </a:cubicBezTo>
                  <a:cubicBezTo>
                    <a:pt x="642" y="55"/>
                    <a:pt x="642" y="56"/>
                    <a:pt x="642" y="58"/>
                  </a:cubicBezTo>
                  <a:close/>
                  <a:moveTo>
                    <a:pt x="644" y="123"/>
                  </a:moveTo>
                  <a:cubicBezTo>
                    <a:pt x="650" y="124"/>
                    <a:pt x="655" y="129"/>
                    <a:pt x="662" y="131"/>
                  </a:cubicBezTo>
                  <a:cubicBezTo>
                    <a:pt x="664" y="131"/>
                    <a:pt x="667" y="131"/>
                    <a:pt x="669" y="130"/>
                  </a:cubicBezTo>
                  <a:cubicBezTo>
                    <a:pt x="675" y="127"/>
                    <a:pt x="671" y="130"/>
                    <a:pt x="674" y="129"/>
                  </a:cubicBezTo>
                  <a:cubicBezTo>
                    <a:pt x="675" y="129"/>
                    <a:pt x="675" y="129"/>
                    <a:pt x="675" y="129"/>
                  </a:cubicBezTo>
                  <a:cubicBezTo>
                    <a:pt x="676" y="130"/>
                    <a:pt x="678" y="130"/>
                    <a:pt x="679" y="128"/>
                  </a:cubicBezTo>
                  <a:cubicBezTo>
                    <a:pt x="679" y="126"/>
                    <a:pt x="677" y="123"/>
                    <a:pt x="677" y="121"/>
                  </a:cubicBezTo>
                  <a:cubicBezTo>
                    <a:pt x="677" y="119"/>
                    <a:pt x="675" y="118"/>
                    <a:pt x="674" y="117"/>
                  </a:cubicBezTo>
                  <a:cubicBezTo>
                    <a:pt x="674" y="116"/>
                    <a:pt x="673" y="115"/>
                    <a:pt x="672" y="115"/>
                  </a:cubicBezTo>
                  <a:cubicBezTo>
                    <a:pt x="671" y="114"/>
                    <a:pt x="670" y="112"/>
                    <a:pt x="669" y="110"/>
                  </a:cubicBezTo>
                  <a:cubicBezTo>
                    <a:pt x="669" y="109"/>
                    <a:pt x="667" y="109"/>
                    <a:pt x="666" y="109"/>
                  </a:cubicBezTo>
                  <a:cubicBezTo>
                    <a:pt x="664" y="110"/>
                    <a:pt x="663" y="110"/>
                    <a:pt x="662" y="112"/>
                  </a:cubicBezTo>
                  <a:cubicBezTo>
                    <a:pt x="661" y="113"/>
                    <a:pt x="658" y="112"/>
                    <a:pt x="656" y="113"/>
                  </a:cubicBezTo>
                  <a:cubicBezTo>
                    <a:pt x="655" y="114"/>
                    <a:pt x="653" y="116"/>
                    <a:pt x="652" y="117"/>
                  </a:cubicBezTo>
                  <a:cubicBezTo>
                    <a:pt x="650" y="118"/>
                    <a:pt x="647" y="117"/>
                    <a:pt x="645" y="117"/>
                  </a:cubicBezTo>
                  <a:cubicBezTo>
                    <a:pt x="644" y="118"/>
                    <a:pt x="642" y="118"/>
                    <a:pt x="641" y="119"/>
                  </a:cubicBezTo>
                  <a:cubicBezTo>
                    <a:pt x="638" y="121"/>
                    <a:pt x="642" y="122"/>
                    <a:pt x="644" y="123"/>
                  </a:cubicBezTo>
                  <a:close/>
                  <a:moveTo>
                    <a:pt x="607" y="18"/>
                  </a:moveTo>
                  <a:cubicBezTo>
                    <a:pt x="608" y="17"/>
                    <a:pt x="609" y="17"/>
                    <a:pt x="610" y="16"/>
                  </a:cubicBezTo>
                  <a:cubicBezTo>
                    <a:pt x="610" y="16"/>
                    <a:pt x="610" y="16"/>
                    <a:pt x="610" y="16"/>
                  </a:cubicBezTo>
                  <a:cubicBezTo>
                    <a:pt x="610" y="16"/>
                    <a:pt x="610" y="15"/>
                    <a:pt x="610" y="15"/>
                  </a:cubicBezTo>
                  <a:cubicBezTo>
                    <a:pt x="610" y="15"/>
                    <a:pt x="609" y="15"/>
                    <a:pt x="609" y="15"/>
                  </a:cubicBezTo>
                  <a:cubicBezTo>
                    <a:pt x="609" y="15"/>
                    <a:pt x="609" y="15"/>
                    <a:pt x="609" y="15"/>
                  </a:cubicBezTo>
                  <a:cubicBezTo>
                    <a:pt x="605" y="16"/>
                    <a:pt x="601" y="17"/>
                    <a:pt x="597" y="18"/>
                  </a:cubicBezTo>
                  <a:cubicBezTo>
                    <a:pt x="595" y="18"/>
                    <a:pt x="591" y="19"/>
                    <a:pt x="589" y="21"/>
                  </a:cubicBezTo>
                  <a:cubicBezTo>
                    <a:pt x="589" y="21"/>
                    <a:pt x="589" y="22"/>
                    <a:pt x="589" y="22"/>
                  </a:cubicBezTo>
                  <a:cubicBezTo>
                    <a:pt x="593" y="22"/>
                    <a:pt x="597" y="21"/>
                    <a:pt x="600" y="20"/>
                  </a:cubicBezTo>
                  <a:cubicBezTo>
                    <a:pt x="602" y="19"/>
                    <a:pt x="605" y="18"/>
                    <a:pt x="607" y="18"/>
                  </a:cubicBezTo>
                  <a:close/>
                  <a:moveTo>
                    <a:pt x="861" y="21"/>
                  </a:moveTo>
                  <a:cubicBezTo>
                    <a:pt x="865" y="22"/>
                    <a:pt x="869" y="24"/>
                    <a:pt x="873" y="25"/>
                  </a:cubicBezTo>
                  <a:cubicBezTo>
                    <a:pt x="876" y="25"/>
                    <a:pt x="878" y="24"/>
                    <a:pt x="881" y="26"/>
                  </a:cubicBezTo>
                  <a:cubicBezTo>
                    <a:pt x="883" y="27"/>
                    <a:pt x="885" y="28"/>
                    <a:pt x="887" y="28"/>
                  </a:cubicBezTo>
                  <a:cubicBezTo>
                    <a:pt x="890" y="29"/>
                    <a:pt x="892" y="29"/>
                    <a:pt x="895" y="31"/>
                  </a:cubicBezTo>
                  <a:cubicBezTo>
                    <a:pt x="896" y="31"/>
                    <a:pt x="898" y="31"/>
                    <a:pt x="899" y="31"/>
                  </a:cubicBezTo>
                  <a:cubicBezTo>
                    <a:pt x="886" y="27"/>
                    <a:pt x="874" y="24"/>
                    <a:pt x="861" y="20"/>
                  </a:cubicBezTo>
                  <a:cubicBezTo>
                    <a:pt x="861" y="21"/>
                    <a:pt x="861" y="21"/>
                    <a:pt x="861" y="21"/>
                  </a:cubicBezTo>
                  <a:close/>
                  <a:moveTo>
                    <a:pt x="644" y="4"/>
                  </a:moveTo>
                  <a:cubicBezTo>
                    <a:pt x="642" y="4"/>
                    <a:pt x="640" y="3"/>
                    <a:pt x="639" y="4"/>
                  </a:cubicBezTo>
                  <a:cubicBezTo>
                    <a:pt x="638" y="5"/>
                    <a:pt x="637" y="5"/>
                    <a:pt x="635" y="5"/>
                  </a:cubicBezTo>
                  <a:cubicBezTo>
                    <a:pt x="627" y="5"/>
                    <a:pt x="619" y="5"/>
                    <a:pt x="611" y="7"/>
                  </a:cubicBezTo>
                  <a:cubicBezTo>
                    <a:pt x="607" y="8"/>
                    <a:pt x="603" y="9"/>
                    <a:pt x="599" y="9"/>
                  </a:cubicBezTo>
                  <a:cubicBezTo>
                    <a:pt x="595" y="10"/>
                    <a:pt x="591" y="10"/>
                    <a:pt x="586" y="11"/>
                  </a:cubicBezTo>
                  <a:cubicBezTo>
                    <a:pt x="582" y="11"/>
                    <a:pt x="578" y="13"/>
                    <a:pt x="575" y="16"/>
                  </a:cubicBezTo>
                  <a:cubicBezTo>
                    <a:pt x="575" y="16"/>
                    <a:pt x="575" y="17"/>
                    <a:pt x="576" y="17"/>
                  </a:cubicBezTo>
                  <a:cubicBezTo>
                    <a:pt x="577" y="17"/>
                    <a:pt x="579" y="17"/>
                    <a:pt x="580" y="16"/>
                  </a:cubicBezTo>
                  <a:cubicBezTo>
                    <a:pt x="581" y="16"/>
                    <a:pt x="584" y="18"/>
                    <a:pt x="585" y="17"/>
                  </a:cubicBezTo>
                  <a:cubicBezTo>
                    <a:pt x="586" y="16"/>
                    <a:pt x="588" y="15"/>
                    <a:pt x="590" y="15"/>
                  </a:cubicBezTo>
                  <a:cubicBezTo>
                    <a:pt x="591" y="14"/>
                    <a:pt x="591" y="14"/>
                    <a:pt x="592" y="14"/>
                  </a:cubicBezTo>
                  <a:cubicBezTo>
                    <a:pt x="591" y="14"/>
                    <a:pt x="591" y="15"/>
                    <a:pt x="590" y="15"/>
                  </a:cubicBezTo>
                  <a:cubicBezTo>
                    <a:pt x="590" y="15"/>
                    <a:pt x="589" y="16"/>
                    <a:pt x="588" y="17"/>
                  </a:cubicBezTo>
                  <a:cubicBezTo>
                    <a:pt x="588" y="17"/>
                    <a:pt x="588" y="18"/>
                    <a:pt x="589" y="18"/>
                  </a:cubicBezTo>
                  <a:cubicBezTo>
                    <a:pt x="591" y="18"/>
                    <a:pt x="593" y="17"/>
                    <a:pt x="596" y="17"/>
                  </a:cubicBezTo>
                  <a:cubicBezTo>
                    <a:pt x="596" y="16"/>
                    <a:pt x="601" y="14"/>
                    <a:pt x="601" y="15"/>
                  </a:cubicBezTo>
                  <a:cubicBezTo>
                    <a:pt x="601" y="15"/>
                    <a:pt x="601" y="15"/>
                    <a:pt x="602" y="15"/>
                  </a:cubicBezTo>
                  <a:cubicBezTo>
                    <a:pt x="604" y="16"/>
                    <a:pt x="608" y="14"/>
                    <a:pt x="609" y="13"/>
                  </a:cubicBezTo>
                  <a:cubicBezTo>
                    <a:pt x="610" y="13"/>
                    <a:pt x="610" y="12"/>
                    <a:pt x="610" y="12"/>
                  </a:cubicBezTo>
                  <a:cubicBezTo>
                    <a:pt x="609" y="11"/>
                    <a:pt x="613" y="11"/>
                    <a:pt x="614" y="11"/>
                  </a:cubicBezTo>
                  <a:cubicBezTo>
                    <a:pt x="615" y="11"/>
                    <a:pt x="617" y="11"/>
                    <a:pt x="618" y="10"/>
                  </a:cubicBezTo>
                  <a:cubicBezTo>
                    <a:pt x="617" y="11"/>
                    <a:pt x="616" y="12"/>
                    <a:pt x="615" y="12"/>
                  </a:cubicBezTo>
                  <a:cubicBezTo>
                    <a:pt x="613" y="13"/>
                    <a:pt x="612" y="13"/>
                    <a:pt x="610" y="14"/>
                  </a:cubicBezTo>
                  <a:cubicBezTo>
                    <a:pt x="610" y="14"/>
                    <a:pt x="610" y="14"/>
                    <a:pt x="610" y="15"/>
                  </a:cubicBezTo>
                  <a:cubicBezTo>
                    <a:pt x="615" y="17"/>
                    <a:pt x="619" y="15"/>
                    <a:pt x="622" y="13"/>
                  </a:cubicBezTo>
                  <a:cubicBezTo>
                    <a:pt x="625" y="11"/>
                    <a:pt x="629" y="14"/>
                    <a:pt x="632" y="12"/>
                  </a:cubicBezTo>
                  <a:cubicBezTo>
                    <a:pt x="633" y="11"/>
                    <a:pt x="632" y="10"/>
                    <a:pt x="635" y="10"/>
                  </a:cubicBezTo>
                  <a:cubicBezTo>
                    <a:pt x="635" y="10"/>
                    <a:pt x="636" y="10"/>
                    <a:pt x="637" y="10"/>
                  </a:cubicBezTo>
                  <a:cubicBezTo>
                    <a:pt x="637" y="9"/>
                    <a:pt x="637" y="9"/>
                    <a:pt x="637" y="9"/>
                  </a:cubicBezTo>
                  <a:cubicBezTo>
                    <a:pt x="637" y="8"/>
                    <a:pt x="645" y="8"/>
                    <a:pt x="645" y="8"/>
                  </a:cubicBezTo>
                  <a:cubicBezTo>
                    <a:pt x="648" y="7"/>
                    <a:pt x="647" y="4"/>
                    <a:pt x="644" y="4"/>
                  </a:cubicBezTo>
                  <a:close/>
                  <a:moveTo>
                    <a:pt x="648" y="10"/>
                  </a:moveTo>
                  <a:cubicBezTo>
                    <a:pt x="647" y="10"/>
                    <a:pt x="646" y="10"/>
                    <a:pt x="645" y="10"/>
                  </a:cubicBezTo>
                  <a:cubicBezTo>
                    <a:pt x="644" y="10"/>
                    <a:pt x="643" y="10"/>
                    <a:pt x="641" y="10"/>
                  </a:cubicBezTo>
                  <a:cubicBezTo>
                    <a:pt x="641" y="10"/>
                    <a:pt x="641" y="11"/>
                    <a:pt x="641" y="11"/>
                  </a:cubicBezTo>
                  <a:cubicBezTo>
                    <a:pt x="641" y="11"/>
                    <a:pt x="641" y="11"/>
                    <a:pt x="641" y="12"/>
                  </a:cubicBezTo>
                  <a:cubicBezTo>
                    <a:pt x="641" y="12"/>
                    <a:pt x="643" y="12"/>
                    <a:pt x="643" y="12"/>
                  </a:cubicBezTo>
                  <a:cubicBezTo>
                    <a:pt x="643" y="13"/>
                    <a:pt x="644" y="13"/>
                    <a:pt x="644" y="13"/>
                  </a:cubicBezTo>
                  <a:cubicBezTo>
                    <a:pt x="645" y="13"/>
                    <a:pt x="647" y="13"/>
                    <a:pt x="648" y="13"/>
                  </a:cubicBezTo>
                  <a:cubicBezTo>
                    <a:pt x="648" y="13"/>
                    <a:pt x="649" y="13"/>
                    <a:pt x="649" y="12"/>
                  </a:cubicBezTo>
                  <a:cubicBezTo>
                    <a:pt x="650" y="11"/>
                    <a:pt x="649" y="10"/>
                    <a:pt x="648" y="10"/>
                  </a:cubicBezTo>
                  <a:close/>
                  <a:moveTo>
                    <a:pt x="658" y="5"/>
                  </a:moveTo>
                  <a:cubicBezTo>
                    <a:pt x="659" y="6"/>
                    <a:pt x="661" y="5"/>
                    <a:pt x="662" y="5"/>
                  </a:cubicBezTo>
                  <a:cubicBezTo>
                    <a:pt x="662" y="5"/>
                    <a:pt x="663" y="4"/>
                    <a:pt x="663" y="4"/>
                  </a:cubicBezTo>
                  <a:cubicBezTo>
                    <a:pt x="664" y="4"/>
                    <a:pt x="666" y="4"/>
                    <a:pt x="666" y="3"/>
                  </a:cubicBezTo>
                  <a:cubicBezTo>
                    <a:pt x="666" y="3"/>
                    <a:pt x="666" y="2"/>
                    <a:pt x="666" y="2"/>
                  </a:cubicBezTo>
                  <a:cubicBezTo>
                    <a:pt x="666" y="2"/>
                    <a:pt x="665" y="2"/>
                    <a:pt x="665" y="2"/>
                  </a:cubicBezTo>
                  <a:cubicBezTo>
                    <a:pt x="665" y="2"/>
                    <a:pt x="665" y="2"/>
                    <a:pt x="665" y="2"/>
                  </a:cubicBezTo>
                  <a:cubicBezTo>
                    <a:pt x="665" y="1"/>
                    <a:pt x="665" y="1"/>
                    <a:pt x="665" y="1"/>
                  </a:cubicBezTo>
                  <a:cubicBezTo>
                    <a:pt x="664" y="0"/>
                    <a:pt x="663" y="1"/>
                    <a:pt x="662" y="2"/>
                  </a:cubicBezTo>
                  <a:cubicBezTo>
                    <a:pt x="660" y="2"/>
                    <a:pt x="657" y="3"/>
                    <a:pt x="658" y="5"/>
                  </a:cubicBezTo>
                  <a:close/>
                  <a:moveTo>
                    <a:pt x="755" y="191"/>
                  </a:moveTo>
                  <a:cubicBezTo>
                    <a:pt x="756" y="192"/>
                    <a:pt x="760" y="192"/>
                    <a:pt x="760" y="190"/>
                  </a:cubicBezTo>
                  <a:cubicBezTo>
                    <a:pt x="760" y="189"/>
                    <a:pt x="759" y="188"/>
                    <a:pt x="758" y="188"/>
                  </a:cubicBezTo>
                  <a:cubicBezTo>
                    <a:pt x="756" y="187"/>
                    <a:pt x="754" y="185"/>
                    <a:pt x="753" y="184"/>
                  </a:cubicBezTo>
                  <a:cubicBezTo>
                    <a:pt x="753" y="183"/>
                    <a:pt x="752" y="182"/>
                    <a:pt x="751" y="182"/>
                  </a:cubicBezTo>
                  <a:cubicBezTo>
                    <a:pt x="750" y="182"/>
                    <a:pt x="750" y="183"/>
                    <a:pt x="750" y="184"/>
                  </a:cubicBezTo>
                  <a:cubicBezTo>
                    <a:pt x="751" y="185"/>
                    <a:pt x="752" y="187"/>
                    <a:pt x="753" y="188"/>
                  </a:cubicBezTo>
                  <a:cubicBezTo>
                    <a:pt x="753" y="189"/>
                    <a:pt x="754" y="190"/>
                    <a:pt x="755" y="190"/>
                  </a:cubicBezTo>
                  <a:cubicBezTo>
                    <a:pt x="755" y="190"/>
                    <a:pt x="755" y="191"/>
                    <a:pt x="755" y="191"/>
                  </a:cubicBezTo>
                  <a:close/>
                  <a:moveTo>
                    <a:pt x="858" y="20"/>
                  </a:moveTo>
                  <a:cubicBezTo>
                    <a:pt x="855" y="19"/>
                    <a:pt x="853" y="18"/>
                    <a:pt x="850" y="18"/>
                  </a:cubicBezTo>
                  <a:cubicBezTo>
                    <a:pt x="853" y="19"/>
                    <a:pt x="855" y="20"/>
                    <a:pt x="857" y="20"/>
                  </a:cubicBezTo>
                  <a:cubicBezTo>
                    <a:pt x="858" y="20"/>
                    <a:pt x="858" y="20"/>
                    <a:pt x="858" y="20"/>
                  </a:cubicBezTo>
                  <a:close/>
                  <a:moveTo>
                    <a:pt x="760" y="227"/>
                  </a:moveTo>
                  <a:cubicBezTo>
                    <a:pt x="762" y="228"/>
                    <a:pt x="765" y="229"/>
                    <a:pt x="767" y="229"/>
                  </a:cubicBezTo>
                  <a:cubicBezTo>
                    <a:pt x="767" y="229"/>
                    <a:pt x="768" y="229"/>
                    <a:pt x="768" y="229"/>
                  </a:cubicBezTo>
                  <a:cubicBezTo>
                    <a:pt x="769" y="226"/>
                    <a:pt x="772" y="227"/>
                    <a:pt x="774" y="225"/>
                  </a:cubicBezTo>
                  <a:cubicBezTo>
                    <a:pt x="775" y="224"/>
                    <a:pt x="772" y="221"/>
                    <a:pt x="771" y="220"/>
                  </a:cubicBezTo>
                  <a:cubicBezTo>
                    <a:pt x="769" y="217"/>
                    <a:pt x="767" y="218"/>
                    <a:pt x="764" y="218"/>
                  </a:cubicBezTo>
                  <a:cubicBezTo>
                    <a:pt x="759" y="218"/>
                    <a:pt x="762" y="216"/>
                    <a:pt x="763" y="213"/>
                  </a:cubicBezTo>
                  <a:cubicBezTo>
                    <a:pt x="763" y="212"/>
                    <a:pt x="763" y="210"/>
                    <a:pt x="762" y="209"/>
                  </a:cubicBezTo>
                  <a:cubicBezTo>
                    <a:pt x="761" y="207"/>
                    <a:pt x="758" y="204"/>
                    <a:pt x="756" y="203"/>
                  </a:cubicBezTo>
                  <a:cubicBezTo>
                    <a:pt x="754" y="203"/>
                    <a:pt x="754" y="200"/>
                    <a:pt x="753" y="199"/>
                  </a:cubicBezTo>
                  <a:cubicBezTo>
                    <a:pt x="751" y="197"/>
                    <a:pt x="748" y="197"/>
                    <a:pt x="747" y="194"/>
                  </a:cubicBezTo>
                  <a:cubicBezTo>
                    <a:pt x="746" y="192"/>
                    <a:pt x="743" y="191"/>
                    <a:pt x="741" y="192"/>
                  </a:cubicBezTo>
                  <a:cubicBezTo>
                    <a:pt x="740" y="193"/>
                    <a:pt x="739" y="186"/>
                    <a:pt x="739" y="185"/>
                  </a:cubicBezTo>
                  <a:cubicBezTo>
                    <a:pt x="739" y="185"/>
                    <a:pt x="739" y="184"/>
                    <a:pt x="739" y="184"/>
                  </a:cubicBezTo>
                  <a:cubicBezTo>
                    <a:pt x="736" y="183"/>
                    <a:pt x="731" y="185"/>
                    <a:pt x="729" y="188"/>
                  </a:cubicBezTo>
                  <a:cubicBezTo>
                    <a:pt x="728" y="190"/>
                    <a:pt x="726" y="193"/>
                    <a:pt x="725" y="196"/>
                  </a:cubicBezTo>
                  <a:cubicBezTo>
                    <a:pt x="724" y="198"/>
                    <a:pt x="725" y="201"/>
                    <a:pt x="722" y="203"/>
                  </a:cubicBezTo>
                  <a:cubicBezTo>
                    <a:pt x="720" y="204"/>
                    <a:pt x="720" y="204"/>
                    <a:pt x="719" y="206"/>
                  </a:cubicBezTo>
                  <a:cubicBezTo>
                    <a:pt x="719" y="207"/>
                    <a:pt x="719" y="208"/>
                    <a:pt x="719" y="209"/>
                  </a:cubicBezTo>
                  <a:cubicBezTo>
                    <a:pt x="719" y="212"/>
                    <a:pt x="718" y="211"/>
                    <a:pt x="716" y="212"/>
                  </a:cubicBezTo>
                  <a:cubicBezTo>
                    <a:pt x="714" y="212"/>
                    <a:pt x="711" y="215"/>
                    <a:pt x="711" y="218"/>
                  </a:cubicBezTo>
                  <a:cubicBezTo>
                    <a:pt x="710" y="218"/>
                    <a:pt x="710" y="219"/>
                    <a:pt x="710" y="220"/>
                  </a:cubicBezTo>
                  <a:cubicBezTo>
                    <a:pt x="710" y="220"/>
                    <a:pt x="710" y="220"/>
                    <a:pt x="710" y="221"/>
                  </a:cubicBezTo>
                  <a:cubicBezTo>
                    <a:pt x="712" y="221"/>
                    <a:pt x="713" y="219"/>
                    <a:pt x="715" y="219"/>
                  </a:cubicBezTo>
                  <a:cubicBezTo>
                    <a:pt x="717" y="219"/>
                    <a:pt x="722" y="220"/>
                    <a:pt x="721" y="221"/>
                  </a:cubicBezTo>
                  <a:cubicBezTo>
                    <a:pt x="721" y="222"/>
                    <a:pt x="716" y="227"/>
                    <a:pt x="719" y="229"/>
                  </a:cubicBezTo>
                  <a:cubicBezTo>
                    <a:pt x="722" y="231"/>
                    <a:pt x="727" y="229"/>
                    <a:pt x="730" y="227"/>
                  </a:cubicBezTo>
                  <a:cubicBezTo>
                    <a:pt x="733" y="226"/>
                    <a:pt x="733" y="223"/>
                    <a:pt x="736" y="222"/>
                  </a:cubicBezTo>
                  <a:cubicBezTo>
                    <a:pt x="738" y="222"/>
                    <a:pt x="741" y="222"/>
                    <a:pt x="742" y="220"/>
                  </a:cubicBezTo>
                  <a:cubicBezTo>
                    <a:pt x="743" y="219"/>
                    <a:pt x="742" y="215"/>
                    <a:pt x="745" y="216"/>
                  </a:cubicBezTo>
                  <a:cubicBezTo>
                    <a:pt x="746" y="216"/>
                    <a:pt x="749" y="215"/>
                    <a:pt x="749" y="217"/>
                  </a:cubicBezTo>
                  <a:cubicBezTo>
                    <a:pt x="748" y="220"/>
                    <a:pt x="753" y="219"/>
                    <a:pt x="754" y="221"/>
                  </a:cubicBezTo>
                  <a:cubicBezTo>
                    <a:pt x="755" y="222"/>
                    <a:pt x="751" y="223"/>
                    <a:pt x="754" y="226"/>
                  </a:cubicBezTo>
                  <a:cubicBezTo>
                    <a:pt x="755" y="227"/>
                    <a:pt x="758" y="226"/>
                    <a:pt x="760" y="227"/>
                  </a:cubicBezTo>
                  <a:close/>
                  <a:moveTo>
                    <a:pt x="914" y="534"/>
                  </a:moveTo>
                  <a:cubicBezTo>
                    <a:pt x="913" y="534"/>
                    <a:pt x="913" y="535"/>
                    <a:pt x="913" y="536"/>
                  </a:cubicBezTo>
                  <a:cubicBezTo>
                    <a:pt x="913" y="536"/>
                    <a:pt x="913" y="537"/>
                    <a:pt x="913" y="537"/>
                  </a:cubicBezTo>
                  <a:cubicBezTo>
                    <a:pt x="918" y="539"/>
                    <a:pt x="924" y="534"/>
                    <a:pt x="928" y="532"/>
                  </a:cubicBezTo>
                  <a:cubicBezTo>
                    <a:pt x="929" y="531"/>
                    <a:pt x="930" y="530"/>
                    <a:pt x="929" y="529"/>
                  </a:cubicBezTo>
                  <a:cubicBezTo>
                    <a:pt x="928" y="527"/>
                    <a:pt x="925" y="528"/>
                    <a:pt x="924" y="528"/>
                  </a:cubicBezTo>
                  <a:cubicBezTo>
                    <a:pt x="923" y="528"/>
                    <a:pt x="920" y="529"/>
                    <a:pt x="920" y="527"/>
                  </a:cubicBezTo>
                  <a:cubicBezTo>
                    <a:pt x="920" y="525"/>
                    <a:pt x="920" y="523"/>
                    <a:pt x="920" y="521"/>
                  </a:cubicBezTo>
                  <a:cubicBezTo>
                    <a:pt x="921" y="519"/>
                    <a:pt x="921" y="517"/>
                    <a:pt x="920" y="515"/>
                  </a:cubicBezTo>
                  <a:cubicBezTo>
                    <a:pt x="919" y="513"/>
                    <a:pt x="917" y="514"/>
                    <a:pt x="916" y="514"/>
                  </a:cubicBezTo>
                  <a:cubicBezTo>
                    <a:pt x="915" y="515"/>
                    <a:pt x="915" y="516"/>
                    <a:pt x="914" y="516"/>
                  </a:cubicBezTo>
                  <a:cubicBezTo>
                    <a:pt x="914" y="517"/>
                    <a:pt x="914" y="517"/>
                    <a:pt x="914" y="517"/>
                  </a:cubicBezTo>
                  <a:cubicBezTo>
                    <a:pt x="914" y="520"/>
                    <a:pt x="913" y="522"/>
                    <a:pt x="911" y="524"/>
                  </a:cubicBezTo>
                  <a:cubicBezTo>
                    <a:pt x="910" y="524"/>
                    <a:pt x="910" y="524"/>
                    <a:pt x="909" y="525"/>
                  </a:cubicBezTo>
                  <a:cubicBezTo>
                    <a:pt x="907" y="526"/>
                    <a:pt x="906" y="528"/>
                    <a:pt x="906" y="530"/>
                  </a:cubicBezTo>
                  <a:cubicBezTo>
                    <a:pt x="905" y="532"/>
                    <a:pt x="908" y="534"/>
                    <a:pt x="909" y="535"/>
                  </a:cubicBezTo>
                  <a:cubicBezTo>
                    <a:pt x="910" y="536"/>
                    <a:pt x="911" y="535"/>
                    <a:pt x="911" y="535"/>
                  </a:cubicBezTo>
                  <a:cubicBezTo>
                    <a:pt x="911" y="534"/>
                    <a:pt x="911" y="534"/>
                    <a:pt x="911" y="533"/>
                  </a:cubicBezTo>
                  <a:cubicBezTo>
                    <a:pt x="910" y="531"/>
                    <a:pt x="914" y="532"/>
                    <a:pt x="914" y="532"/>
                  </a:cubicBezTo>
                  <a:cubicBezTo>
                    <a:pt x="916" y="532"/>
                    <a:pt x="914" y="534"/>
                    <a:pt x="914" y="534"/>
                  </a:cubicBezTo>
                  <a:close/>
                  <a:moveTo>
                    <a:pt x="763" y="257"/>
                  </a:moveTo>
                  <a:cubicBezTo>
                    <a:pt x="764" y="257"/>
                    <a:pt x="764" y="257"/>
                    <a:pt x="764" y="259"/>
                  </a:cubicBezTo>
                  <a:cubicBezTo>
                    <a:pt x="765" y="259"/>
                    <a:pt x="765" y="260"/>
                    <a:pt x="766" y="260"/>
                  </a:cubicBezTo>
                  <a:cubicBezTo>
                    <a:pt x="768" y="260"/>
                    <a:pt x="767" y="258"/>
                    <a:pt x="768" y="257"/>
                  </a:cubicBezTo>
                  <a:cubicBezTo>
                    <a:pt x="768" y="256"/>
                    <a:pt x="769" y="256"/>
                    <a:pt x="769" y="255"/>
                  </a:cubicBezTo>
                  <a:cubicBezTo>
                    <a:pt x="770" y="255"/>
                    <a:pt x="772" y="255"/>
                    <a:pt x="772" y="254"/>
                  </a:cubicBezTo>
                  <a:cubicBezTo>
                    <a:pt x="773" y="253"/>
                    <a:pt x="774" y="252"/>
                    <a:pt x="774" y="251"/>
                  </a:cubicBezTo>
                  <a:cubicBezTo>
                    <a:pt x="775" y="250"/>
                    <a:pt x="775" y="250"/>
                    <a:pt x="775" y="249"/>
                  </a:cubicBezTo>
                  <a:cubicBezTo>
                    <a:pt x="775" y="247"/>
                    <a:pt x="772" y="247"/>
                    <a:pt x="771" y="246"/>
                  </a:cubicBezTo>
                  <a:cubicBezTo>
                    <a:pt x="769" y="245"/>
                    <a:pt x="767" y="247"/>
                    <a:pt x="765" y="247"/>
                  </a:cubicBezTo>
                  <a:cubicBezTo>
                    <a:pt x="765" y="248"/>
                    <a:pt x="764" y="248"/>
                    <a:pt x="764" y="249"/>
                  </a:cubicBezTo>
                  <a:cubicBezTo>
                    <a:pt x="763" y="250"/>
                    <a:pt x="763" y="251"/>
                    <a:pt x="763" y="252"/>
                  </a:cubicBezTo>
                  <a:cubicBezTo>
                    <a:pt x="762" y="252"/>
                    <a:pt x="762" y="252"/>
                    <a:pt x="762" y="253"/>
                  </a:cubicBezTo>
                  <a:cubicBezTo>
                    <a:pt x="762" y="254"/>
                    <a:pt x="761" y="256"/>
                    <a:pt x="763" y="257"/>
                  </a:cubicBezTo>
                  <a:close/>
                  <a:moveTo>
                    <a:pt x="713" y="401"/>
                  </a:moveTo>
                  <a:cubicBezTo>
                    <a:pt x="712" y="400"/>
                    <a:pt x="712" y="399"/>
                    <a:pt x="710" y="398"/>
                  </a:cubicBezTo>
                  <a:cubicBezTo>
                    <a:pt x="709" y="397"/>
                    <a:pt x="708" y="396"/>
                    <a:pt x="706" y="396"/>
                  </a:cubicBezTo>
                  <a:cubicBezTo>
                    <a:pt x="704" y="396"/>
                    <a:pt x="699" y="398"/>
                    <a:pt x="700" y="401"/>
                  </a:cubicBezTo>
                  <a:cubicBezTo>
                    <a:pt x="700" y="402"/>
                    <a:pt x="702" y="403"/>
                    <a:pt x="703" y="404"/>
                  </a:cubicBezTo>
                  <a:cubicBezTo>
                    <a:pt x="704" y="405"/>
                    <a:pt x="707" y="406"/>
                    <a:pt x="708" y="406"/>
                  </a:cubicBezTo>
                  <a:cubicBezTo>
                    <a:pt x="710" y="406"/>
                    <a:pt x="711" y="407"/>
                    <a:pt x="713" y="406"/>
                  </a:cubicBezTo>
                  <a:cubicBezTo>
                    <a:pt x="713" y="405"/>
                    <a:pt x="714" y="404"/>
                    <a:pt x="714" y="403"/>
                  </a:cubicBezTo>
                  <a:cubicBezTo>
                    <a:pt x="714" y="403"/>
                    <a:pt x="714" y="402"/>
                    <a:pt x="714" y="402"/>
                  </a:cubicBezTo>
                  <a:cubicBezTo>
                    <a:pt x="714" y="402"/>
                    <a:pt x="714" y="402"/>
                    <a:pt x="714" y="402"/>
                  </a:cubicBezTo>
                  <a:cubicBezTo>
                    <a:pt x="714" y="401"/>
                    <a:pt x="713" y="401"/>
                    <a:pt x="713" y="401"/>
                  </a:cubicBezTo>
                  <a:close/>
                  <a:moveTo>
                    <a:pt x="753" y="236"/>
                  </a:moveTo>
                  <a:cubicBezTo>
                    <a:pt x="751" y="235"/>
                    <a:pt x="742" y="237"/>
                    <a:pt x="742" y="236"/>
                  </a:cubicBezTo>
                  <a:cubicBezTo>
                    <a:pt x="741" y="234"/>
                    <a:pt x="738" y="235"/>
                    <a:pt x="736" y="236"/>
                  </a:cubicBezTo>
                  <a:cubicBezTo>
                    <a:pt x="734" y="238"/>
                    <a:pt x="732" y="238"/>
                    <a:pt x="730" y="239"/>
                  </a:cubicBezTo>
                  <a:cubicBezTo>
                    <a:pt x="729" y="240"/>
                    <a:pt x="729" y="240"/>
                    <a:pt x="728" y="241"/>
                  </a:cubicBezTo>
                  <a:cubicBezTo>
                    <a:pt x="728" y="241"/>
                    <a:pt x="729" y="242"/>
                    <a:pt x="729" y="242"/>
                  </a:cubicBezTo>
                  <a:cubicBezTo>
                    <a:pt x="731" y="244"/>
                    <a:pt x="730" y="245"/>
                    <a:pt x="731" y="246"/>
                  </a:cubicBezTo>
                  <a:cubicBezTo>
                    <a:pt x="731" y="247"/>
                    <a:pt x="731" y="247"/>
                    <a:pt x="730" y="247"/>
                  </a:cubicBezTo>
                  <a:cubicBezTo>
                    <a:pt x="730" y="248"/>
                    <a:pt x="731" y="248"/>
                    <a:pt x="731" y="248"/>
                  </a:cubicBezTo>
                  <a:cubicBezTo>
                    <a:pt x="733" y="249"/>
                    <a:pt x="734" y="246"/>
                    <a:pt x="735" y="245"/>
                  </a:cubicBezTo>
                  <a:cubicBezTo>
                    <a:pt x="735" y="245"/>
                    <a:pt x="736" y="247"/>
                    <a:pt x="737" y="247"/>
                  </a:cubicBezTo>
                  <a:cubicBezTo>
                    <a:pt x="739" y="247"/>
                    <a:pt x="740" y="245"/>
                    <a:pt x="742" y="245"/>
                  </a:cubicBezTo>
                  <a:cubicBezTo>
                    <a:pt x="744" y="244"/>
                    <a:pt x="757" y="238"/>
                    <a:pt x="753" y="236"/>
                  </a:cubicBezTo>
                  <a:close/>
                  <a:moveTo>
                    <a:pt x="877" y="513"/>
                  </a:moveTo>
                  <a:cubicBezTo>
                    <a:pt x="877" y="513"/>
                    <a:pt x="877" y="513"/>
                    <a:pt x="877" y="513"/>
                  </a:cubicBezTo>
                  <a:cubicBezTo>
                    <a:pt x="877" y="514"/>
                    <a:pt x="877" y="514"/>
                    <a:pt x="877" y="514"/>
                  </a:cubicBezTo>
                  <a:cubicBezTo>
                    <a:pt x="877" y="515"/>
                    <a:pt x="878" y="516"/>
                    <a:pt x="879" y="517"/>
                  </a:cubicBezTo>
                  <a:cubicBezTo>
                    <a:pt x="879" y="518"/>
                    <a:pt x="881" y="520"/>
                    <a:pt x="882" y="521"/>
                  </a:cubicBezTo>
                  <a:cubicBezTo>
                    <a:pt x="882" y="521"/>
                    <a:pt x="883" y="522"/>
                    <a:pt x="883" y="523"/>
                  </a:cubicBezTo>
                  <a:cubicBezTo>
                    <a:pt x="884" y="524"/>
                    <a:pt x="887" y="525"/>
                    <a:pt x="888" y="526"/>
                  </a:cubicBezTo>
                  <a:cubicBezTo>
                    <a:pt x="890" y="527"/>
                    <a:pt x="891" y="527"/>
                    <a:pt x="893" y="528"/>
                  </a:cubicBezTo>
                  <a:cubicBezTo>
                    <a:pt x="893" y="529"/>
                    <a:pt x="894" y="530"/>
                    <a:pt x="894" y="530"/>
                  </a:cubicBezTo>
                  <a:cubicBezTo>
                    <a:pt x="897" y="529"/>
                    <a:pt x="899" y="527"/>
                    <a:pt x="901" y="525"/>
                  </a:cubicBezTo>
                  <a:cubicBezTo>
                    <a:pt x="902" y="524"/>
                    <a:pt x="903" y="523"/>
                    <a:pt x="902" y="521"/>
                  </a:cubicBezTo>
                  <a:cubicBezTo>
                    <a:pt x="901" y="520"/>
                    <a:pt x="898" y="521"/>
                    <a:pt x="896" y="521"/>
                  </a:cubicBezTo>
                  <a:cubicBezTo>
                    <a:pt x="894" y="521"/>
                    <a:pt x="890" y="522"/>
                    <a:pt x="888" y="520"/>
                  </a:cubicBezTo>
                  <a:cubicBezTo>
                    <a:pt x="887" y="519"/>
                    <a:pt x="886" y="518"/>
                    <a:pt x="885" y="518"/>
                  </a:cubicBezTo>
                  <a:cubicBezTo>
                    <a:pt x="884" y="517"/>
                    <a:pt x="883" y="518"/>
                    <a:pt x="883" y="519"/>
                  </a:cubicBezTo>
                  <a:cubicBezTo>
                    <a:pt x="883" y="519"/>
                    <a:pt x="883" y="519"/>
                    <a:pt x="883" y="518"/>
                  </a:cubicBezTo>
                  <a:cubicBezTo>
                    <a:pt x="882" y="518"/>
                    <a:pt x="882" y="518"/>
                    <a:pt x="881" y="517"/>
                  </a:cubicBezTo>
                  <a:cubicBezTo>
                    <a:pt x="882" y="517"/>
                    <a:pt x="882" y="517"/>
                    <a:pt x="882" y="516"/>
                  </a:cubicBezTo>
                  <a:cubicBezTo>
                    <a:pt x="882" y="516"/>
                    <a:pt x="882" y="515"/>
                    <a:pt x="881" y="515"/>
                  </a:cubicBezTo>
                  <a:cubicBezTo>
                    <a:pt x="882" y="514"/>
                    <a:pt x="882" y="513"/>
                    <a:pt x="883" y="512"/>
                  </a:cubicBezTo>
                  <a:cubicBezTo>
                    <a:pt x="883" y="510"/>
                    <a:pt x="880" y="509"/>
                    <a:pt x="878" y="510"/>
                  </a:cubicBezTo>
                  <a:cubicBezTo>
                    <a:pt x="878" y="511"/>
                    <a:pt x="878" y="511"/>
                    <a:pt x="878" y="511"/>
                  </a:cubicBezTo>
                  <a:cubicBezTo>
                    <a:pt x="878" y="512"/>
                    <a:pt x="878" y="512"/>
                    <a:pt x="878" y="512"/>
                  </a:cubicBezTo>
                  <a:cubicBezTo>
                    <a:pt x="877" y="512"/>
                    <a:pt x="877" y="512"/>
                    <a:pt x="877" y="513"/>
                  </a:cubicBezTo>
                  <a:close/>
                  <a:moveTo>
                    <a:pt x="805" y="8"/>
                  </a:moveTo>
                  <a:cubicBezTo>
                    <a:pt x="805" y="8"/>
                    <a:pt x="805" y="8"/>
                    <a:pt x="805" y="9"/>
                  </a:cubicBezTo>
                  <a:cubicBezTo>
                    <a:pt x="803" y="9"/>
                    <a:pt x="802" y="10"/>
                    <a:pt x="800" y="12"/>
                  </a:cubicBezTo>
                  <a:cubicBezTo>
                    <a:pt x="797" y="15"/>
                    <a:pt x="807" y="16"/>
                    <a:pt x="808" y="16"/>
                  </a:cubicBezTo>
                  <a:cubicBezTo>
                    <a:pt x="809" y="17"/>
                    <a:pt x="810" y="17"/>
                    <a:pt x="812" y="17"/>
                  </a:cubicBezTo>
                  <a:cubicBezTo>
                    <a:pt x="810" y="17"/>
                    <a:pt x="808" y="17"/>
                    <a:pt x="806" y="17"/>
                  </a:cubicBezTo>
                  <a:cubicBezTo>
                    <a:pt x="805" y="17"/>
                    <a:pt x="801" y="16"/>
                    <a:pt x="800" y="17"/>
                  </a:cubicBezTo>
                  <a:cubicBezTo>
                    <a:pt x="797" y="19"/>
                    <a:pt x="802" y="23"/>
                    <a:pt x="803" y="24"/>
                  </a:cubicBezTo>
                  <a:cubicBezTo>
                    <a:pt x="806" y="25"/>
                    <a:pt x="808" y="26"/>
                    <a:pt x="810" y="27"/>
                  </a:cubicBezTo>
                  <a:cubicBezTo>
                    <a:pt x="812" y="27"/>
                    <a:pt x="815" y="28"/>
                    <a:pt x="817" y="27"/>
                  </a:cubicBezTo>
                  <a:cubicBezTo>
                    <a:pt x="817" y="26"/>
                    <a:pt x="820" y="29"/>
                    <a:pt x="821" y="29"/>
                  </a:cubicBezTo>
                  <a:cubicBezTo>
                    <a:pt x="823" y="29"/>
                    <a:pt x="825" y="27"/>
                    <a:pt x="827" y="27"/>
                  </a:cubicBezTo>
                  <a:cubicBezTo>
                    <a:pt x="829" y="27"/>
                    <a:pt x="832" y="26"/>
                    <a:pt x="834" y="26"/>
                  </a:cubicBezTo>
                  <a:cubicBezTo>
                    <a:pt x="836" y="26"/>
                    <a:pt x="838" y="24"/>
                    <a:pt x="840" y="25"/>
                  </a:cubicBezTo>
                  <a:cubicBezTo>
                    <a:pt x="842" y="26"/>
                    <a:pt x="845" y="26"/>
                    <a:pt x="847" y="26"/>
                  </a:cubicBezTo>
                  <a:cubicBezTo>
                    <a:pt x="849" y="26"/>
                    <a:pt x="851" y="28"/>
                    <a:pt x="853" y="27"/>
                  </a:cubicBezTo>
                  <a:cubicBezTo>
                    <a:pt x="854" y="26"/>
                    <a:pt x="854" y="26"/>
                    <a:pt x="854" y="26"/>
                  </a:cubicBezTo>
                  <a:cubicBezTo>
                    <a:pt x="853" y="25"/>
                    <a:pt x="852" y="24"/>
                    <a:pt x="851" y="23"/>
                  </a:cubicBezTo>
                  <a:cubicBezTo>
                    <a:pt x="850" y="23"/>
                    <a:pt x="849" y="22"/>
                    <a:pt x="848" y="22"/>
                  </a:cubicBezTo>
                  <a:cubicBezTo>
                    <a:pt x="847" y="22"/>
                    <a:pt x="849" y="22"/>
                    <a:pt x="850" y="21"/>
                  </a:cubicBezTo>
                  <a:cubicBezTo>
                    <a:pt x="853" y="20"/>
                    <a:pt x="849" y="18"/>
                    <a:pt x="848" y="18"/>
                  </a:cubicBezTo>
                  <a:cubicBezTo>
                    <a:pt x="846" y="17"/>
                    <a:pt x="843" y="17"/>
                    <a:pt x="841" y="16"/>
                  </a:cubicBezTo>
                  <a:cubicBezTo>
                    <a:pt x="841" y="16"/>
                    <a:pt x="841" y="16"/>
                    <a:pt x="840" y="15"/>
                  </a:cubicBezTo>
                  <a:cubicBezTo>
                    <a:pt x="829" y="13"/>
                    <a:pt x="817" y="10"/>
                    <a:pt x="806" y="8"/>
                  </a:cubicBezTo>
                  <a:cubicBezTo>
                    <a:pt x="806" y="8"/>
                    <a:pt x="805" y="8"/>
                    <a:pt x="805" y="8"/>
                  </a:cubicBezTo>
                  <a:close/>
                  <a:moveTo>
                    <a:pt x="737" y="356"/>
                  </a:moveTo>
                  <a:cubicBezTo>
                    <a:pt x="737" y="356"/>
                    <a:pt x="738" y="356"/>
                    <a:pt x="739" y="355"/>
                  </a:cubicBezTo>
                  <a:cubicBezTo>
                    <a:pt x="740" y="355"/>
                    <a:pt x="742" y="355"/>
                    <a:pt x="743" y="354"/>
                  </a:cubicBezTo>
                  <a:cubicBezTo>
                    <a:pt x="745" y="354"/>
                    <a:pt x="746" y="353"/>
                    <a:pt x="746" y="351"/>
                  </a:cubicBezTo>
                  <a:cubicBezTo>
                    <a:pt x="747" y="349"/>
                    <a:pt x="746" y="347"/>
                    <a:pt x="745" y="345"/>
                  </a:cubicBezTo>
                  <a:cubicBezTo>
                    <a:pt x="745" y="345"/>
                    <a:pt x="744" y="345"/>
                    <a:pt x="744" y="345"/>
                  </a:cubicBezTo>
                  <a:cubicBezTo>
                    <a:pt x="743" y="345"/>
                    <a:pt x="742" y="346"/>
                    <a:pt x="742" y="347"/>
                  </a:cubicBezTo>
                  <a:cubicBezTo>
                    <a:pt x="741" y="347"/>
                    <a:pt x="740" y="347"/>
                    <a:pt x="739" y="348"/>
                  </a:cubicBezTo>
                  <a:cubicBezTo>
                    <a:pt x="737" y="349"/>
                    <a:pt x="736" y="351"/>
                    <a:pt x="736" y="353"/>
                  </a:cubicBezTo>
                  <a:cubicBezTo>
                    <a:pt x="736" y="353"/>
                    <a:pt x="736" y="353"/>
                    <a:pt x="736" y="353"/>
                  </a:cubicBezTo>
                  <a:cubicBezTo>
                    <a:pt x="735" y="354"/>
                    <a:pt x="735" y="355"/>
                    <a:pt x="737" y="356"/>
                  </a:cubicBezTo>
                  <a:close/>
                  <a:moveTo>
                    <a:pt x="795" y="233"/>
                  </a:moveTo>
                  <a:cubicBezTo>
                    <a:pt x="795" y="233"/>
                    <a:pt x="795" y="233"/>
                    <a:pt x="795" y="233"/>
                  </a:cubicBezTo>
                  <a:cubicBezTo>
                    <a:pt x="794" y="232"/>
                    <a:pt x="794" y="232"/>
                    <a:pt x="792" y="231"/>
                  </a:cubicBezTo>
                  <a:cubicBezTo>
                    <a:pt x="791" y="231"/>
                    <a:pt x="788" y="231"/>
                    <a:pt x="787" y="231"/>
                  </a:cubicBezTo>
                  <a:cubicBezTo>
                    <a:pt x="786" y="231"/>
                    <a:pt x="786" y="232"/>
                    <a:pt x="786" y="233"/>
                  </a:cubicBezTo>
                  <a:cubicBezTo>
                    <a:pt x="786" y="234"/>
                    <a:pt x="787" y="234"/>
                    <a:pt x="787" y="234"/>
                  </a:cubicBezTo>
                  <a:cubicBezTo>
                    <a:pt x="788" y="235"/>
                    <a:pt x="788" y="235"/>
                    <a:pt x="789" y="235"/>
                  </a:cubicBezTo>
                  <a:cubicBezTo>
                    <a:pt x="789" y="236"/>
                    <a:pt x="789" y="236"/>
                    <a:pt x="790" y="237"/>
                  </a:cubicBezTo>
                  <a:cubicBezTo>
                    <a:pt x="791" y="240"/>
                    <a:pt x="794" y="240"/>
                    <a:pt x="797" y="238"/>
                  </a:cubicBezTo>
                  <a:cubicBezTo>
                    <a:pt x="799" y="236"/>
                    <a:pt x="798" y="232"/>
                    <a:pt x="795" y="23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1653" tIns="30814" rIns="61653" bIns="30814" anchor="t" anchorCtr="0">
              <a:noAutofit/>
            </a:bodyPr>
            <a:lstStyle/>
            <a:p>
              <a:endParaRPr sz="90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21" name="Google Shape;221;p7"/>
          <p:cNvGrpSpPr/>
          <p:nvPr/>
        </p:nvGrpSpPr>
        <p:grpSpPr>
          <a:xfrm>
            <a:off x="846906" y="1612789"/>
            <a:ext cx="3435215" cy="2140197"/>
            <a:chOff x="815300" y="2017760"/>
            <a:chExt cx="3438149" cy="2142023"/>
          </a:xfrm>
        </p:grpSpPr>
        <p:grpSp>
          <p:nvGrpSpPr>
            <p:cNvPr id="222" name="Google Shape;222;p7"/>
            <p:cNvGrpSpPr/>
            <p:nvPr/>
          </p:nvGrpSpPr>
          <p:grpSpPr>
            <a:xfrm>
              <a:off x="3571247" y="3477580"/>
              <a:ext cx="682202" cy="682203"/>
              <a:chOff x="400159" y="2883005"/>
              <a:chExt cx="912105" cy="912105"/>
            </a:xfrm>
          </p:grpSpPr>
          <p:sp>
            <p:nvSpPr>
              <p:cNvPr id="223" name="Google Shape;223;p7"/>
              <p:cNvSpPr/>
              <p:nvPr/>
            </p:nvSpPr>
            <p:spPr>
              <a:xfrm>
                <a:off x="504975" y="2987366"/>
                <a:ext cx="717508" cy="717509"/>
              </a:xfrm>
              <a:prstGeom prst="ellipse">
                <a:avLst/>
              </a:prstGeom>
              <a:solidFill>
                <a:srgbClr val="81B0E4"/>
              </a:solidFill>
              <a:ln>
                <a:noFill/>
              </a:ln>
            </p:spPr>
            <p:txBody>
              <a:bodyPr spcFirstLastPara="1" wrap="square" lIns="91342" tIns="45658" rIns="91342" bIns="45658" anchor="ctr" anchorCtr="0">
                <a:noAutofit/>
              </a:bodyPr>
              <a:lstStyle/>
              <a:p>
                <a:pPr algn="ctr"/>
                <a:endParaRPr>
                  <a:solidFill>
                    <a:srgbClr val="FFFFFF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24" name="Google Shape;224;p7"/>
              <p:cNvSpPr/>
              <p:nvPr/>
            </p:nvSpPr>
            <p:spPr>
              <a:xfrm>
                <a:off x="400159" y="2883005"/>
                <a:ext cx="912105" cy="912105"/>
              </a:xfrm>
              <a:prstGeom prst="ellipse">
                <a:avLst/>
              </a:prstGeom>
              <a:noFill/>
              <a:ln w="9525" cap="flat" cmpd="sng">
                <a:solidFill>
                  <a:srgbClr val="A5A5A5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342" tIns="45658" rIns="91342" bIns="45658" anchor="ctr" anchorCtr="0">
                <a:noAutofit/>
              </a:bodyPr>
              <a:lstStyle/>
              <a:p>
                <a:pPr algn="ctr"/>
                <a:endParaRPr>
                  <a:solidFill>
                    <a:srgbClr val="FFFFFF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sp>
          <p:nvSpPr>
            <p:cNvPr id="225" name="Google Shape;225;p7"/>
            <p:cNvSpPr/>
            <p:nvPr/>
          </p:nvSpPr>
          <p:spPr>
            <a:xfrm>
              <a:off x="815300" y="2017760"/>
              <a:ext cx="2969379" cy="4155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342" tIns="45658" rIns="91342" bIns="45658" anchor="t" anchorCtr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26" name="Google Shape;226;p7"/>
          <p:cNvGrpSpPr/>
          <p:nvPr/>
        </p:nvGrpSpPr>
        <p:grpSpPr>
          <a:xfrm>
            <a:off x="7577438" y="1818373"/>
            <a:ext cx="681620" cy="681620"/>
            <a:chOff x="725084" y="1621912"/>
            <a:chExt cx="912105" cy="912105"/>
          </a:xfrm>
        </p:grpSpPr>
        <p:sp>
          <p:nvSpPr>
            <p:cNvPr id="227" name="Google Shape;227;p7"/>
            <p:cNvSpPr/>
            <p:nvPr/>
          </p:nvSpPr>
          <p:spPr>
            <a:xfrm>
              <a:off x="840069" y="1735699"/>
              <a:ext cx="717509" cy="71750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342" tIns="45658" rIns="91342" bIns="45658" anchor="ctr" anchorCtr="0">
              <a:noAutofit/>
            </a:bodyPr>
            <a:lstStyle/>
            <a:p>
              <a:pPr algn="ctr"/>
              <a:endParaRPr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28" name="Google Shape;228;p7"/>
            <p:cNvSpPr/>
            <p:nvPr/>
          </p:nvSpPr>
          <p:spPr>
            <a:xfrm>
              <a:off x="725084" y="1621912"/>
              <a:ext cx="912105" cy="912105"/>
            </a:xfrm>
            <a:prstGeom prst="ellipse">
              <a:avLst/>
            </a:prstGeom>
            <a:noFill/>
            <a:ln w="9525" cap="flat" cmpd="sng">
              <a:solidFill>
                <a:srgbClr val="A5A5A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342" tIns="45658" rIns="91342" bIns="45658" anchor="ctr" anchorCtr="0">
              <a:noAutofit/>
            </a:bodyPr>
            <a:lstStyle/>
            <a:p>
              <a:pPr algn="ctr"/>
              <a:endParaRPr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29" name="Google Shape;229;p7"/>
          <p:cNvGrpSpPr/>
          <p:nvPr/>
        </p:nvGrpSpPr>
        <p:grpSpPr>
          <a:xfrm>
            <a:off x="7569290" y="4329438"/>
            <a:ext cx="681619" cy="681620"/>
            <a:chOff x="725084" y="1621912"/>
            <a:chExt cx="912105" cy="912105"/>
          </a:xfrm>
        </p:grpSpPr>
        <p:sp>
          <p:nvSpPr>
            <p:cNvPr id="230" name="Google Shape;230;p7"/>
            <p:cNvSpPr/>
            <p:nvPr/>
          </p:nvSpPr>
          <p:spPr>
            <a:xfrm>
              <a:off x="822382" y="1719211"/>
              <a:ext cx="717509" cy="717509"/>
            </a:xfrm>
            <a:prstGeom prst="ellipse">
              <a:avLst/>
            </a:prstGeom>
            <a:solidFill>
              <a:srgbClr val="003580"/>
            </a:solidFill>
            <a:ln>
              <a:noFill/>
            </a:ln>
          </p:spPr>
          <p:txBody>
            <a:bodyPr spcFirstLastPara="1" wrap="square" lIns="91342" tIns="45658" rIns="91342" bIns="45658" anchor="ctr" anchorCtr="0">
              <a:noAutofit/>
            </a:bodyPr>
            <a:lstStyle/>
            <a:p>
              <a:pPr algn="ctr"/>
              <a:endParaRPr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31" name="Google Shape;231;p7"/>
            <p:cNvSpPr/>
            <p:nvPr/>
          </p:nvSpPr>
          <p:spPr>
            <a:xfrm>
              <a:off x="725084" y="1621912"/>
              <a:ext cx="912105" cy="912105"/>
            </a:xfrm>
            <a:prstGeom prst="ellipse">
              <a:avLst/>
            </a:prstGeom>
            <a:noFill/>
            <a:ln w="9525" cap="flat" cmpd="sng">
              <a:solidFill>
                <a:srgbClr val="A5A5A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342" tIns="45658" rIns="91342" bIns="45658" anchor="ctr" anchorCtr="0">
              <a:noAutofit/>
            </a:bodyPr>
            <a:lstStyle/>
            <a:p>
              <a:pPr algn="ctr"/>
              <a:endParaRPr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32" name="Google Shape;232;p7"/>
          <p:cNvGrpSpPr/>
          <p:nvPr/>
        </p:nvGrpSpPr>
        <p:grpSpPr>
          <a:xfrm>
            <a:off x="4678782" y="4899054"/>
            <a:ext cx="681619" cy="681620"/>
            <a:chOff x="4678366" y="5282187"/>
            <a:chExt cx="682202" cy="682203"/>
          </a:xfrm>
        </p:grpSpPr>
        <p:grpSp>
          <p:nvGrpSpPr>
            <p:cNvPr id="233" name="Google Shape;233;p7"/>
            <p:cNvGrpSpPr/>
            <p:nvPr/>
          </p:nvGrpSpPr>
          <p:grpSpPr>
            <a:xfrm>
              <a:off x="4678366" y="5282187"/>
              <a:ext cx="682202" cy="682203"/>
              <a:chOff x="725084" y="1621912"/>
              <a:chExt cx="912105" cy="912105"/>
            </a:xfrm>
          </p:grpSpPr>
          <p:sp>
            <p:nvSpPr>
              <p:cNvPr id="234" name="Google Shape;234;p7"/>
              <p:cNvSpPr/>
              <p:nvPr/>
            </p:nvSpPr>
            <p:spPr>
              <a:xfrm>
                <a:off x="822382" y="1719211"/>
                <a:ext cx="717509" cy="717509"/>
              </a:xfrm>
              <a:prstGeom prst="ellipse">
                <a:avLst/>
              </a:prstGeom>
              <a:solidFill>
                <a:srgbClr val="003580"/>
              </a:solidFill>
              <a:ln>
                <a:noFill/>
              </a:ln>
            </p:spPr>
            <p:txBody>
              <a:bodyPr spcFirstLastPara="1" wrap="square" lIns="91342" tIns="45658" rIns="91342" bIns="45658" anchor="ctr" anchorCtr="0">
                <a:noAutofit/>
              </a:bodyPr>
              <a:lstStyle/>
              <a:p>
                <a:pPr algn="ctr"/>
                <a:endParaRPr>
                  <a:solidFill>
                    <a:srgbClr val="FFFFFF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35" name="Google Shape;235;p7"/>
              <p:cNvSpPr/>
              <p:nvPr/>
            </p:nvSpPr>
            <p:spPr>
              <a:xfrm>
                <a:off x="725084" y="1621912"/>
                <a:ext cx="912105" cy="912105"/>
              </a:xfrm>
              <a:prstGeom prst="ellipse">
                <a:avLst/>
              </a:prstGeom>
              <a:noFill/>
              <a:ln w="9525" cap="flat" cmpd="sng">
                <a:solidFill>
                  <a:srgbClr val="A5A5A5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342" tIns="45658" rIns="91342" bIns="45658" anchor="ctr" anchorCtr="0">
                <a:noAutofit/>
              </a:bodyPr>
              <a:lstStyle/>
              <a:p>
                <a:pPr algn="ctr"/>
                <a:endParaRPr>
                  <a:solidFill>
                    <a:srgbClr val="FFFFFF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236" name="Google Shape;236;p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68115" y="5457864"/>
              <a:ext cx="304800" cy="304800"/>
            </a:xfrm>
            <a:prstGeom prst="rect">
              <a:avLst/>
            </a:prstGeom>
            <a:noFill/>
            <a:ln>
              <a:noFill/>
            </a:ln>
          </p:spPr>
        </p:pic>
      </p:grpSp>
      <p:graphicFrame>
        <p:nvGraphicFramePr>
          <p:cNvPr id="237" name="Google Shape;237;p7"/>
          <p:cNvGraphicFramePr/>
          <p:nvPr/>
        </p:nvGraphicFramePr>
        <p:xfrm>
          <a:off x="4318017" y="1673182"/>
          <a:ext cx="3685261" cy="3489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8" name="Google Shape;238;p7"/>
          <p:cNvSpPr/>
          <p:nvPr/>
        </p:nvSpPr>
        <p:spPr>
          <a:xfrm>
            <a:off x="7651157" y="4435648"/>
            <a:ext cx="517883" cy="467877"/>
          </a:xfrm>
          <a:custGeom>
            <a:avLst/>
            <a:gdLst/>
            <a:ahLst/>
            <a:cxnLst/>
            <a:rect l="l" t="t" r="r" b="b"/>
            <a:pathLst>
              <a:path w="384" h="416" extrusionOk="0">
                <a:moveTo>
                  <a:pt x="102" y="82"/>
                </a:moveTo>
                <a:lnTo>
                  <a:pt x="84" y="50"/>
                </a:lnTo>
                <a:lnTo>
                  <a:pt x="84" y="50"/>
                </a:lnTo>
                <a:lnTo>
                  <a:pt x="82" y="44"/>
                </a:lnTo>
                <a:lnTo>
                  <a:pt x="84" y="40"/>
                </a:lnTo>
                <a:lnTo>
                  <a:pt x="86" y="34"/>
                </a:lnTo>
                <a:lnTo>
                  <a:pt x="90" y="32"/>
                </a:lnTo>
                <a:lnTo>
                  <a:pt x="90" y="32"/>
                </a:lnTo>
                <a:lnTo>
                  <a:pt x="96" y="30"/>
                </a:lnTo>
                <a:lnTo>
                  <a:pt x="100" y="30"/>
                </a:lnTo>
                <a:lnTo>
                  <a:pt x="106" y="32"/>
                </a:lnTo>
                <a:lnTo>
                  <a:pt x="108" y="36"/>
                </a:lnTo>
                <a:lnTo>
                  <a:pt x="126" y="68"/>
                </a:lnTo>
                <a:lnTo>
                  <a:pt x="126" y="68"/>
                </a:lnTo>
                <a:lnTo>
                  <a:pt x="128" y="72"/>
                </a:lnTo>
                <a:lnTo>
                  <a:pt x="128" y="78"/>
                </a:lnTo>
                <a:lnTo>
                  <a:pt x="126" y="82"/>
                </a:lnTo>
                <a:lnTo>
                  <a:pt x="122" y="86"/>
                </a:lnTo>
                <a:lnTo>
                  <a:pt x="122" y="86"/>
                </a:lnTo>
                <a:lnTo>
                  <a:pt x="114" y="88"/>
                </a:lnTo>
                <a:lnTo>
                  <a:pt x="114" y="88"/>
                </a:lnTo>
                <a:lnTo>
                  <a:pt x="108" y="86"/>
                </a:lnTo>
                <a:lnTo>
                  <a:pt x="102" y="82"/>
                </a:lnTo>
                <a:lnTo>
                  <a:pt x="102" y="82"/>
                </a:lnTo>
                <a:close/>
                <a:moveTo>
                  <a:pt x="64" y="120"/>
                </a:moveTo>
                <a:lnTo>
                  <a:pt x="38" y="104"/>
                </a:lnTo>
                <a:lnTo>
                  <a:pt x="38" y="104"/>
                </a:lnTo>
                <a:lnTo>
                  <a:pt x="32" y="104"/>
                </a:lnTo>
                <a:lnTo>
                  <a:pt x="28" y="104"/>
                </a:lnTo>
                <a:lnTo>
                  <a:pt x="24" y="106"/>
                </a:lnTo>
                <a:lnTo>
                  <a:pt x="22" y="110"/>
                </a:lnTo>
                <a:lnTo>
                  <a:pt x="22" y="110"/>
                </a:lnTo>
                <a:lnTo>
                  <a:pt x="20" y="114"/>
                </a:lnTo>
                <a:lnTo>
                  <a:pt x="20" y="118"/>
                </a:lnTo>
                <a:lnTo>
                  <a:pt x="22" y="122"/>
                </a:lnTo>
                <a:lnTo>
                  <a:pt x="26" y="126"/>
                </a:lnTo>
                <a:lnTo>
                  <a:pt x="52" y="142"/>
                </a:lnTo>
                <a:lnTo>
                  <a:pt x="52" y="142"/>
                </a:lnTo>
                <a:lnTo>
                  <a:pt x="58" y="142"/>
                </a:lnTo>
                <a:lnTo>
                  <a:pt x="58" y="142"/>
                </a:lnTo>
                <a:lnTo>
                  <a:pt x="64" y="142"/>
                </a:lnTo>
                <a:lnTo>
                  <a:pt x="68" y="136"/>
                </a:lnTo>
                <a:lnTo>
                  <a:pt x="68" y="136"/>
                </a:lnTo>
                <a:lnTo>
                  <a:pt x="70" y="132"/>
                </a:lnTo>
                <a:lnTo>
                  <a:pt x="70" y="128"/>
                </a:lnTo>
                <a:lnTo>
                  <a:pt x="68" y="124"/>
                </a:lnTo>
                <a:lnTo>
                  <a:pt x="64" y="120"/>
                </a:lnTo>
                <a:lnTo>
                  <a:pt x="64" y="120"/>
                </a:lnTo>
                <a:close/>
                <a:moveTo>
                  <a:pt x="220" y="366"/>
                </a:moveTo>
                <a:lnTo>
                  <a:pt x="164" y="366"/>
                </a:lnTo>
                <a:lnTo>
                  <a:pt x="164" y="366"/>
                </a:lnTo>
                <a:lnTo>
                  <a:pt x="160" y="366"/>
                </a:lnTo>
                <a:lnTo>
                  <a:pt x="156" y="368"/>
                </a:lnTo>
                <a:lnTo>
                  <a:pt x="154" y="372"/>
                </a:lnTo>
                <a:lnTo>
                  <a:pt x="154" y="376"/>
                </a:lnTo>
                <a:lnTo>
                  <a:pt x="154" y="376"/>
                </a:lnTo>
                <a:lnTo>
                  <a:pt x="154" y="380"/>
                </a:lnTo>
                <a:lnTo>
                  <a:pt x="156" y="382"/>
                </a:lnTo>
                <a:lnTo>
                  <a:pt x="160" y="384"/>
                </a:lnTo>
                <a:lnTo>
                  <a:pt x="164" y="386"/>
                </a:lnTo>
                <a:lnTo>
                  <a:pt x="220" y="386"/>
                </a:lnTo>
                <a:lnTo>
                  <a:pt x="220" y="386"/>
                </a:lnTo>
                <a:lnTo>
                  <a:pt x="224" y="384"/>
                </a:lnTo>
                <a:lnTo>
                  <a:pt x="228" y="382"/>
                </a:lnTo>
                <a:lnTo>
                  <a:pt x="230" y="380"/>
                </a:lnTo>
                <a:lnTo>
                  <a:pt x="230" y="376"/>
                </a:lnTo>
                <a:lnTo>
                  <a:pt x="230" y="376"/>
                </a:lnTo>
                <a:lnTo>
                  <a:pt x="230" y="372"/>
                </a:lnTo>
                <a:lnTo>
                  <a:pt x="228" y="368"/>
                </a:lnTo>
                <a:lnTo>
                  <a:pt x="224" y="366"/>
                </a:lnTo>
                <a:lnTo>
                  <a:pt x="220" y="366"/>
                </a:lnTo>
                <a:lnTo>
                  <a:pt x="220" y="366"/>
                </a:lnTo>
                <a:close/>
                <a:moveTo>
                  <a:pt x="210" y="396"/>
                </a:moveTo>
                <a:lnTo>
                  <a:pt x="174" y="396"/>
                </a:lnTo>
                <a:lnTo>
                  <a:pt x="174" y="396"/>
                </a:lnTo>
                <a:lnTo>
                  <a:pt x="170" y="396"/>
                </a:lnTo>
                <a:lnTo>
                  <a:pt x="166" y="398"/>
                </a:lnTo>
                <a:lnTo>
                  <a:pt x="164" y="402"/>
                </a:lnTo>
                <a:lnTo>
                  <a:pt x="164" y="406"/>
                </a:lnTo>
                <a:lnTo>
                  <a:pt x="164" y="406"/>
                </a:lnTo>
                <a:lnTo>
                  <a:pt x="164" y="410"/>
                </a:lnTo>
                <a:lnTo>
                  <a:pt x="166" y="414"/>
                </a:lnTo>
                <a:lnTo>
                  <a:pt x="170" y="416"/>
                </a:lnTo>
                <a:lnTo>
                  <a:pt x="174" y="416"/>
                </a:lnTo>
                <a:lnTo>
                  <a:pt x="210" y="416"/>
                </a:lnTo>
                <a:lnTo>
                  <a:pt x="210" y="416"/>
                </a:lnTo>
                <a:lnTo>
                  <a:pt x="214" y="416"/>
                </a:lnTo>
                <a:lnTo>
                  <a:pt x="218" y="414"/>
                </a:lnTo>
                <a:lnTo>
                  <a:pt x="220" y="410"/>
                </a:lnTo>
                <a:lnTo>
                  <a:pt x="220" y="406"/>
                </a:lnTo>
                <a:lnTo>
                  <a:pt x="220" y="406"/>
                </a:lnTo>
                <a:lnTo>
                  <a:pt x="220" y="402"/>
                </a:lnTo>
                <a:lnTo>
                  <a:pt x="218" y="398"/>
                </a:lnTo>
                <a:lnTo>
                  <a:pt x="214" y="396"/>
                </a:lnTo>
                <a:lnTo>
                  <a:pt x="210" y="396"/>
                </a:lnTo>
                <a:lnTo>
                  <a:pt x="210" y="396"/>
                </a:lnTo>
                <a:close/>
                <a:moveTo>
                  <a:pt x="52" y="276"/>
                </a:moveTo>
                <a:lnTo>
                  <a:pt x="38" y="284"/>
                </a:lnTo>
                <a:lnTo>
                  <a:pt x="38" y="284"/>
                </a:lnTo>
                <a:lnTo>
                  <a:pt x="36" y="288"/>
                </a:lnTo>
                <a:lnTo>
                  <a:pt x="34" y="290"/>
                </a:lnTo>
                <a:lnTo>
                  <a:pt x="34" y="294"/>
                </a:lnTo>
                <a:lnTo>
                  <a:pt x="36" y="298"/>
                </a:lnTo>
                <a:lnTo>
                  <a:pt x="36" y="298"/>
                </a:lnTo>
                <a:lnTo>
                  <a:pt x="40" y="302"/>
                </a:lnTo>
                <a:lnTo>
                  <a:pt x="44" y="304"/>
                </a:lnTo>
                <a:lnTo>
                  <a:pt x="44" y="304"/>
                </a:lnTo>
                <a:lnTo>
                  <a:pt x="48" y="302"/>
                </a:lnTo>
                <a:lnTo>
                  <a:pt x="62" y="294"/>
                </a:lnTo>
                <a:lnTo>
                  <a:pt x="62" y="294"/>
                </a:lnTo>
                <a:lnTo>
                  <a:pt x="66" y="292"/>
                </a:lnTo>
                <a:lnTo>
                  <a:pt x="68" y="288"/>
                </a:lnTo>
                <a:lnTo>
                  <a:pt x="68" y="284"/>
                </a:lnTo>
                <a:lnTo>
                  <a:pt x="66" y="280"/>
                </a:lnTo>
                <a:lnTo>
                  <a:pt x="66" y="280"/>
                </a:lnTo>
                <a:lnTo>
                  <a:pt x="64" y="278"/>
                </a:lnTo>
                <a:lnTo>
                  <a:pt x="60" y="276"/>
                </a:lnTo>
                <a:lnTo>
                  <a:pt x="56" y="276"/>
                </a:lnTo>
                <a:lnTo>
                  <a:pt x="52" y="276"/>
                </a:lnTo>
                <a:lnTo>
                  <a:pt x="52" y="276"/>
                </a:lnTo>
                <a:close/>
                <a:moveTo>
                  <a:pt x="50" y="208"/>
                </a:moveTo>
                <a:lnTo>
                  <a:pt x="50" y="208"/>
                </a:lnTo>
                <a:lnTo>
                  <a:pt x="48" y="204"/>
                </a:lnTo>
                <a:lnTo>
                  <a:pt x="46" y="200"/>
                </a:lnTo>
                <a:lnTo>
                  <a:pt x="42" y="198"/>
                </a:lnTo>
                <a:lnTo>
                  <a:pt x="38" y="196"/>
                </a:lnTo>
                <a:lnTo>
                  <a:pt x="12" y="196"/>
                </a:lnTo>
                <a:lnTo>
                  <a:pt x="12" y="196"/>
                </a:lnTo>
                <a:lnTo>
                  <a:pt x="6" y="198"/>
                </a:lnTo>
                <a:lnTo>
                  <a:pt x="2" y="200"/>
                </a:lnTo>
                <a:lnTo>
                  <a:pt x="0" y="204"/>
                </a:lnTo>
                <a:lnTo>
                  <a:pt x="0" y="208"/>
                </a:lnTo>
                <a:lnTo>
                  <a:pt x="0" y="208"/>
                </a:lnTo>
                <a:lnTo>
                  <a:pt x="0" y="212"/>
                </a:lnTo>
                <a:lnTo>
                  <a:pt x="2" y="216"/>
                </a:lnTo>
                <a:lnTo>
                  <a:pt x="6" y="220"/>
                </a:lnTo>
                <a:lnTo>
                  <a:pt x="12" y="220"/>
                </a:lnTo>
                <a:lnTo>
                  <a:pt x="38" y="220"/>
                </a:lnTo>
                <a:lnTo>
                  <a:pt x="38" y="220"/>
                </a:lnTo>
                <a:lnTo>
                  <a:pt x="42" y="220"/>
                </a:lnTo>
                <a:lnTo>
                  <a:pt x="46" y="216"/>
                </a:lnTo>
                <a:lnTo>
                  <a:pt x="48" y="212"/>
                </a:lnTo>
                <a:lnTo>
                  <a:pt x="50" y="208"/>
                </a:lnTo>
                <a:lnTo>
                  <a:pt x="50" y="208"/>
                </a:lnTo>
                <a:close/>
                <a:moveTo>
                  <a:pt x="192" y="68"/>
                </a:moveTo>
                <a:lnTo>
                  <a:pt x="192" y="68"/>
                </a:lnTo>
                <a:lnTo>
                  <a:pt x="198" y="66"/>
                </a:lnTo>
                <a:lnTo>
                  <a:pt x="202" y="64"/>
                </a:lnTo>
                <a:lnTo>
                  <a:pt x="204" y="58"/>
                </a:lnTo>
                <a:lnTo>
                  <a:pt x="206" y="54"/>
                </a:lnTo>
                <a:lnTo>
                  <a:pt x="206" y="14"/>
                </a:lnTo>
                <a:lnTo>
                  <a:pt x="206" y="14"/>
                </a:lnTo>
                <a:lnTo>
                  <a:pt x="204" y="8"/>
                </a:lnTo>
                <a:lnTo>
                  <a:pt x="202" y="4"/>
                </a:lnTo>
                <a:lnTo>
                  <a:pt x="198" y="0"/>
                </a:lnTo>
                <a:lnTo>
                  <a:pt x="192" y="0"/>
                </a:lnTo>
                <a:lnTo>
                  <a:pt x="192" y="0"/>
                </a:lnTo>
                <a:lnTo>
                  <a:pt x="186" y="0"/>
                </a:lnTo>
                <a:lnTo>
                  <a:pt x="182" y="4"/>
                </a:lnTo>
                <a:lnTo>
                  <a:pt x="180" y="8"/>
                </a:lnTo>
                <a:lnTo>
                  <a:pt x="178" y="14"/>
                </a:lnTo>
                <a:lnTo>
                  <a:pt x="178" y="54"/>
                </a:lnTo>
                <a:lnTo>
                  <a:pt x="178" y="54"/>
                </a:lnTo>
                <a:lnTo>
                  <a:pt x="180" y="58"/>
                </a:lnTo>
                <a:lnTo>
                  <a:pt x="182" y="64"/>
                </a:lnTo>
                <a:lnTo>
                  <a:pt x="186" y="66"/>
                </a:lnTo>
                <a:lnTo>
                  <a:pt x="192" y="68"/>
                </a:lnTo>
                <a:lnTo>
                  <a:pt x="192" y="68"/>
                </a:lnTo>
                <a:close/>
                <a:moveTo>
                  <a:pt x="346" y="284"/>
                </a:moveTo>
                <a:lnTo>
                  <a:pt x="332" y="276"/>
                </a:lnTo>
                <a:lnTo>
                  <a:pt x="332" y="276"/>
                </a:lnTo>
                <a:lnTo>
                  <a:pt x="328" y="276"/>
                </a:lnTo>
                <a:lnTo>
                  <a:pt x="324" y="276"/>
                </a:lnTo>
                <a:lnTo>
                  <a:pt x="320" y="278"/>
                </a:lnTo>
                <a:lnTo>
                  <a:pt x="318" y="280"/>
                </a:lnTo>
                <a:lnTo>
                  <a:pt x="318" y="280"/>
                </a:lnTo>
                <a:lnTo>
                  <a:pt x="316" y="284"/>
                </a:lnTo>
                <a:lnTo>
                  <a:pt x="316" y="288"/>
                </a:lnTo>
                <a:lnTo>
                  <a:pt x="318" y="292"/>
                </a:lnTo>
                <a:lnTo>
                  <a:pt x="322" y="294"/>
                </a:lnTo>
                <a:lnTo>
                  <a:pt x="336" y="302"/>
                </a:lnTo>
                <a:lnTo>
                  <a:pt x="336" y="302"/>
                </a:lnTo>
                <a:lnTo>
                  <a:pt x="340" y="304"/>
                </a:lnTo>
                <a:lnTo>
                  <a:pt x="340" y="304"/>
                </a:lnTo>
                <a:lnTo>
                  <a:pt x="344" y="302"/>
                </a:lnTo>
                <a:lnTo>
                  <a:pt x="348" y="298"/>
                </a:lnTo>
                <a:lnTo>
                  <a:pt x="348" y="298"/>
                </a:lnTo>
                <a:lnTo>
                  <a:pt x="350" y="294"/>
                </a:lnTo>
                <a:lnTo>
                  <a:pt x="350" y="290"/>
                </a:lnTo>
                <a:lnTo>
                  <a:pt x="348" y="288"/>
                </a:lnTo>
                <a:lnTo>
                  <a:pt x="346" y="284"/>
                </a:lnTo>
                <a:lnTo>
                  <a:pt x="346" y="284"/>
                </a:lnTo>
                <a:close/>
                <a:moveTo>
                  <a:pt x="326" y="142"/>
                </a:moveTo>
                <a:lnTo>
                  <a:pt x="326" y="142"/>
                </a:lnTo>
                <a:lnTo>
                  <a:pt x="332" y="142"/>
                </a:lnTo>
                <a:lnTo>
                  <a:pt x="358" y="126"/>
                </a:lnTo>
                <a:lnTo>
                  <a:pt x="358" y="126"/>
                </a:lnTo>
                <a:lnTo>
                  <a:pt x="362" y="122"/>
                </a:lnTo>
                <a:lnTo>
                  <a:pt x="364" y="118"/>
                </a:lnTo>
                <a:lnTo>
                  <a:pt x="364" y="114"/>
                </a:lnTo>
                <a:lnTo>
                  <a:pt x="362" y="110"/>
                </a:lnTo>
                <a:lnTo>
                  <a:pt x="362" y="110"/>
                </a:lnTo>
                <a:lnTo>
                  <a:pt x="360" y="106"/>
                </a:lnTo>
                <a:lnTo>
                  <a:pt x="356" y="104"/>
                </a:lnTo>
                <a:lnTo>
                  <a:pt x="352" y="104"/>
                </a:lnTo>
                <a:lnTo>
                  <a:pt x="346" y="104"/>
                </a:lnTo>
                <a:lnTo>
                  <a:pt x="320" y="120"/>
                </a:lnTo>
                <a:lnTo>
                  <a:pt x="320" y="120"/>
                </a:lnTo>
                <a:lnTo>
                  <a:pt x="316" y="124"/>
                </a:lnTo>
                <a:lnTo>
                  <a:pt x="314" y="128"/>
                </a:lnTo>
                <a:lnTo>
                  <a:pt x="314" y="132"/>
                </a:lnTo>
                <a:lnTo>
                  <a:pt x="316" y="136"/>
                </a:lnTo>
                <a:lnTo>
                  <a:pt x="316" y="136"/>
                </a:lnTo>
                <a:lnTo>
                  <a:pt x="320" y="142"/>
                </a:lnTo>
                <a:lnTo>
                  <a:pt x="326" y="142"/>
                </a:lnTo>
                <a:lnTo>
                  <a:pt x="326" y="142"/>
                </a:lnTo>
                <a:close/>
                <a:moveTo>
                  <a:pt x="372" y="196"/>
                </a:moveTo>
                <a:lnTo>
                  <a:pt x="346" y="196"/>
                </a:lnTo>
                <a:lnTo>
                  <a:pt x="346" y="196"/>
                </a:lnTo>
                <a:lnTo>
                  <a:pt x="342" y="198"/>
                </a:lnTo>
                <a:lnTo>
                  <a:pt x="338" y="200"/>
                </a:lnTo>
                <a:lnTo>
                  <a:pt x="336" y="204"/>
                </a:lnTo>
                <a:lnTo>
                  <a:pt x="334" y="208"/>
                </a:lnTo>
                <a:lnTo>
                  <a:pt x="334" y="208"/>
                </a:lnTo>
                <a:lnTo>
                  <a:pt x="336" y="212"/>
                </a:lnTo>
                <a:lnTo>
                  <a:pt x="338" y="216"/>
                </a:lnTo>
                <a:lnTo>
                  <a:pt x="342" y="220"/>
                </a:lnTo>
                <a:lnTo>
                  <a:pt x="346" y="220"/>
                </a:lnTo>
                <a:lnTo>
                  <a:pt x="372" y="220"/>
                </a:lnTo>
                <a:lnTo>
                  <a:pt x="372" y="220"/>
                </a:lnTo>
                <a:lnTo>
                  <a:pt x="378" y="220"/>
                </a:lnTo>
                <a:lnTo>
                  <a:pt x="382" y="216"/>
                </a:lnTo>
                <a:lnTo>
                  <a:pt x="384" y="212"/>
                </a:lnTo>
                <a:lnTo>
                  <a:pt x="384" y="208"/>
                </a:lnTo>
                <a:lnTo>
                  <a:pt x="384" y="208"/>
                </a:lnTo>
                <a:lnTo>
                  <a:pt x="384" y="204"/>
                </a:lnTo>
                <a:lnTo>
                  <a:pt x="382" y="200"/>
                </a:lnTo>
                <a:lnTo>
                  <a:pt x="378" y="198"/>
                </a:lnTo>
                <a:lnTo>
                  <a:pt x="372" y="196"/>
                </a:lnTo>
                <a:lnTo>
                  <a:pt x="372" y="196"/>
                </a:lnTo>
                <a:close/>
                <a:moveTo>
                  <a:pt x="294" y="32"/>
                </a:moveTo>
                <a:lnTo>
                  <a:pt x="294" y="32"/>
                </a:lnTo>
                <a:lnTo>
                  <a:pt x="288" y="30"/>
                </a:lnTo>
                <a:lnTo>
                  <a:pt x="284" y="30"/>
                </a:lnTo>
                <a:lnTo>
                  <a:pt x="278" y="32"/>
                </a:lnTo>
                <a:lnTo>
                  <a:pt x="276" y="36"/>
                </a:lnTo>
                <a:lnTo>
                  <a:pt x="258" y="68"/>
                </a:lnTo>
                <a:lnTo>
                  <a:pt x="258" y="68"/>
                </a:lnTo>
                <a:lnTo>
                  <a:pt x="256" y="72"/>
                </a:lnTo>
                <a:lnTo>
                  <a:pt x="256" y="78"/>
                </a:lnTo>
                <a:lnTo>
                  <a:pt x="258" y="82"/>
                </a:lnTo>
                <a:lnTo>
                  <a:pt x="262" y="86"/>
                </a:lnTo>
                <a:lnTo>
                  <a:pt x="262" y="86"/>
                </a:lnTo>
                <a:lnTo>
                  <a:pt x="270" y="88"/>
                </a:lnTo>
                <a:lnTo>
                  <a:pt x="270" y="88"/>
                </a:lnTo>
                <a:lnTo>
                  <a:pt x="276" y="86"/>
                </a:lnTo>
                <a:lnTo>
                  <a:pt x="282" y="82"/>
                </a:lnTo>
                <a:lnTo>
                  <a:pt x="300" y="50"/>
                </a:lnTo>
                <a:lnTo>
                  <a:pt x="300" y="50"/>
                </a:lnTo>
                <a:lnTo>
                  <a:pt x="302" y="44"/>
                </a:lnTo>
                <a:lnTo>
                  <a:pt x="300" y="40"/>
                </a:lnTo>
                <a:lnTo>
                  <a:pt x="298" y="34"/>
                </a:lnTo>
                <a:lnTo>
                  <a:pt x="294" y="32"/>
                </a:lnTo>
                <a:lnTo>
                  <a:pt x="294" y="32"/>
                </a:lnTo>
                <a:close/>
                <a:moveTo>
                  <a:pt x="286" y="196"/>
                </a:moveTo>
                <a:lnTo>
                  <a:pt x="286" y="196"/>
                </a:lnTo>
                <a:lnTo>
                  <a:pt x="284" y="216"/>
                </a:lnTo>
                <a:lnTo>
                  <a:pt x="278" y="232"/>
                </a:lnTo>
                <a:lnTo>
                  <a:pt x="272" y="244"/>
                </a:lnTo>
                <a:lnTo>
                  <a:pt x="262" y="256"/>
                </a:lnTo>
                <a:lnTo>
                  <a:pt x="262" y="256"/>
                </a:lnTo>
                <a:lnTo>
                  <a:pt x="252" y="270"/>
                </a:lnTo>
                <a:lnTo>
                  <a:pt x="244" y="288"/>
                </a:lnTo>
                <a:lnTo>
                  <a:pt x="240" y="298"/>
                </a:lnTo>
                <a:lnTo>
                  <a:pt x="238" y="310"/>
                </a:lnTo>
                <a:lnTo>
                  <a:pt x="236" y="322"/>
                </a:lnTo>
                <a:lnTo>
                  <a:pt x="234" y="338"/>
                </a:lnTo>
                <a:lnTo>
                  <a:pt x="234" y="338"/>
                </a:lnTo>
                <a:lnTo>
                  <a:pt x="232" y="344"/>
                </a:lnTo>
                <a:lnTo>
                  <a:pt x="230" y="350"/>
                </a:lnTo>
                <a:lnTo>
                  <a:pt x="224" y="354"/>
                </a:lnTo>
                <a:lnTo>
                  <a:pt x="218" y="354"/>
                </a:lnTo>
                <a:lnTo>
                  <a:pt x="166" y="354"/>
                </a:lnTo>
                <a:lnTo>
                  <a:pt x="166" y="354"/>
                </a:lnTo>
                <a:lnTo>
                  <a:pt x="160" y="354"/>
                </a:lnTo>
                <a:lnTo>
                  <a:pt x="154" y="350"/>
                </a:lnTo>
                <a:lnTo>
                  <a:pt x="152" y="344"/>
                </a:lnTo>
                <a:lnTo>
                  <a:pt x="150" y="338"/>
                </a:lnTo>
                <a:lnTo>
                  <a:pt x="150" y="338"/>
                </a:lnTo>
                <a:lnTo>
                  <a:pt x="148" y="322"/>
                </a:lnTo>
                <a:lnTo>
                  <a:pt x="146" y="310"/>
                </a:lnTo>
                <a:lnTo>
                  <a:pt x="144" y="298"/>
                </a:lnTo>
                <a:lnTo>
                  <a:pt x="140" y="288"/>
                </a:lnTo>
                <a:lnTo>
                  <a:pt x="132" y="270"/>
                </a:lnTo>
                <a:lnTo>
                  <a:pt x="122" y="256"/>
                </a:lnTo>
                <a:lnTo>
                  <a:pt x="122" y="256"/>
                </a:lnTo>
                <a:lnTo>
                  <a:pt x="112" y="244"/>
                </a:lnTo>
                <a:lnTo>
                  <a:pt x="106" y="232"/>
                </a:lnTo>
                <a:lnTo>
                  <a:pt x="100" y="216"/>
                </a:lnTo>
                <a:lnTo>
                  <a:pt x="98" y="196"/>
                </a:lnTo>
                <a:lnTo>
                  <a:pt x="98" y="196"/>
                </a:lnTo>
                <a:lnTo>
                  <a:pt x="100" y="178"/>
                </a:lnTo>
                <a:lnTo>
                  <a:pt x="104" y="160"/>
                </a:lnTo>
                <a:lnTo>
                  <a:pt x="110" y="144"/>
                </a:lnTo>
                <a:lnTo>
                  <a:pt x="120" y="130"/>
                </a:lnTo>
                <a:lnTo>
                  <a:pt x="134" y="118"/>
                </a:lnTo>
                <a:lnTo>
                  <a:pt x="150" y="108"/>
                </a:lnTo>
                <a:lnTo>
                  <a:pt x="170" y="102"/>
                </a:lnTo>
                <a:lnTo>
                  <a:pt x="192" y="98"/>
                </a:lnTo>
                <a:lnTo>
                  <a:pt x="192" y="98"/>
                </a:lnTo>
                <a:lnTo>
                  <a:pt x="214" y="102"/>
                </a:lnTo>
                <a:lnTo>
                  <a:pt x="234" y="108"/>
                </a:lnTo>
                <a:lnTo>
                  <a:pt x="250" y="118"/>
                </a:lnTo>
                <a:lnTo>
                  <a:pt x="264" y="130"/>
                </a:lnTo>
                <a:lnTo>
                  <a:pt x="274" y="144"/>
                </a:lnTo>
                <a:lnTo>
                  <a:pt x="280" y="160"/>
                </a:lnTo>
                <a:lnTo>
                  <a:pt x="284" y="178"/>
                </a:lnTo>
                <a:lnTo>
                  <a:pt x="286" y="196"/>
                </a:lnTo>
                <a:lnTo>
                  <a:pt x="286" y="196"/>
                </a:lnTo>
                <a:close/>
                <a:moveTo>
                  <a:pt x="200" y="138"/>
                </a:moveTo>
                <a:lnTo>
                  <a:pt x="200" y="138"/>
                </a:lnTo>
                <a:lnTo>
                  <a:pt x="198" y="134"/>
                </a:lnTo>
                <a:lnTo>
                  <a:pt x="196" y="130"/>
                </a:lnTo>
                <a:lnTo>
                  <a:pt x="192" y="128"/>
                </a:lnTo>
                <a:lnTo>
                  <a:pt x="190" y="128"/>
                </a:lnTo>
                <a:lnTo>
                  <a:pt x="190" y="128"/>
                </a:lnTo>
                <a:lnTo>
                  <a:pt x="178" y="128"/>
                </a:lnTo>
                <a:lnTo>
                  <a:pt x="166" y="132"/>
                </a:lnTo>
                <a:lnTo>
                  <a:pt x="156" y="136"/>
                </a:lnTo>
                <a:lnTo>
                  <a:pt x="146" y="144"/>
                </a:lnTo>
                <a:lnTo>
                  <a:pt x="136" y="154"/>
                </a:lnTo>
                <a:lnTo>
                  <a:pt x="130" y="164"/>
                </a:lnTo>
                <a:lnTo>
                  <a:pt x="126" y="178"/>
                </a:lnTo>
                <a:lnTo>
                  <a:pt x="124" y="194"/>
                </a:lnTo>
                <a:lnTo>
                  <a:pt x="124" y="194"/>
                </a:lnTo>
                <a:lnTo>
                  <a:pt x="126" y="198"/>
                </a:lnTo>
                <a:lnTo>
                  <a:pt x="128" y="200"/>
                </a:lnTo>
                <a:lnTo>
                  <a:pt x="130" y="204"/>
                </a:lnTo>
                <a:lnTo>
                  <a:pt x="134" y="204"/>
                </a:lnTo>
                <a:lnTo>
                  <a:pt x="134" y="204"/>
                </a:lnTo>
                <a:lnTo>
                  <a:pt x="138" y="204"/>
                </a:lnTo>
                <a:lnTo>
                  <a:pt x="142" y="200"/>
                </a:lnTo>
                <a:lnTo>
                  <a:pt x="144" y="198"/>
                </a:lnTo>
                <a:lnTo>
                  <a:pt x="144" y="194"/>
                </a:lnTo>
                <a:lnTo>
                  <a:pt x="144" y="194"/>
                </a:lnTo>
                <a:lnTo>
                  <a:pt x="146" y="182"/>
                </a:lnTo>
                <a:lnTo>
                  <a:pt x="148" y="172"/>
                </a:lnTo>
                <a:lnTo>
                  <a:pt x="154" y="164"/>
                </a:lnTo>
                <a:lnTo>
                  <a:pt x="160" y="158"/>
                </a:lnTo>
                <a:lnTo>
                  <a:pt x="166" y="154"/>
                </a:lnTo>
                <a:lnTo>
                  <a:pt x="174" y="150"/>
                </a:lnTo>
                <a:lnTo>
                  <a:pt x="182" y="148"/>
                </a:lnTo>
                <a:lnTo>
                  <a:pt x="190" y="148"/>
                </a:lnTo>
                <a:lnTo>
                  <a:pt x="190" y="148"/>
                </a:lnTo>
                <a:lnTo>
                  <a:pt x="192" y="148"/>
                </a:lnTo>
                <a:lnTo>
                  <a:pt x="196" y="144"/>
                </a:lnTo>
                <a:lnTo>
                  <a:pt x="198" y="142"/>
                </a:lnTo>
                <a:lnTo>
                  <a:pt x="200" y="138"/>
                </a:lnTo>
                <a:lnTo>
                  <a:pt x="200" y="138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342" tIns="45658" rIns="91342" bIns="45658" anchor="t" anchorCtr="0">
            <a:noAutofit/>
          </a:bodyPr>
          <a:lstStyle/>
          <a:p>
            <a:endParaRPr sz="1400" u="sng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39" name="Google Shape;239;p7"/>
          <p:cNvSpPr/>
          <p:nvPr/>
        </p:nvSpPr>
        <p:spPr>
          <a:xfrm>
            <a:off x="7744296" y="1975032"/>
            <a:ext cx="381599" cy="412549"/>
          </a:xfrm>
          <a:custGeom>
            <a:avLst/>
            <a:gdLst/>
            <a:ahLst/>
            <a:cxnLst/>
            <a:rect l="l" t="t" r="r" b="b"/>
            <a:pathLst>
              <a:path w="252" h="348" extrusionOk="0">
                <a:moveTo>
                  <a:pt x="252" y="32"/>
                </a:moveTo>
                <a:lnTo>
                  <a:pt x="252" y="332"/>
                </a:lnTo>
                <a:lnTo>
                  <a:pt x="252" y="332"/>
                </a:lnTo>
                <a:lnTo>
                  <a:pt x="250" y="338"/>
                </a:lnTo>
                <a:lnTo>
                  <a:pt x="248" y="344"/>
                </a:lnTo>
                <a:lnTo>
                  <a:pt x="242" y="346"/>
                </a:lnTo>
                <a:lnTo>
                  <a:pt x="236" y="348"/>
                </a:lnTo>
                <a:lnTo>
                  <a:pt x="16" y="348"/>
                </a:lnTo>
                <a:lnTo>
                  <a:pt x="16" y="348"/>
                </a:lnTo>
                <a:lnTo>
                  <a:pt x="10" y="346"/>
                </a:lnTo>
                <a:lnTo>
                  <a:pt x="4" y="344"/>
                </a:lnTo>
                <a:lnTo>
                  <a:pt x="2" y="338"/>
                </a:lnTo>
                <a:lnTo>
                  <a:pt x="0" y="332"/>
                </a:lnTo>
                <a:lnTo>
                  <a:pt x="0" y="32"/>
                </a:lnTo>
                <a:lnTo>
                  <a:pt x="0" y="32"/>
                </a:lnTo>
                <a:lnTo>
                  <a:pt x="2" y="26"/>
                </a:lnTo>
                <a:lnTo>
                  <a:pt x="4" y="20"/>
                </a:lnTo>
                <a:lnTo>
                  <a:pt x="10" y="16"/>
                </a:lnTo>
                <a:lnTo>
                  <a:pt x="16" y="16"/>
                </a:lnTo>
                <a:lnTo>
                  <a:pt x="90" y="16"/>
                </a:lnTo>
                <a:lnTo>
                  <a:pt x="90" y="16"/>
                </a:lnTo>
                <a:lnTo>
                  <a:pt x="88" y="26"/>
                </a:lnTo>
                <a:lnTo>
                  <a:pt x="88" y="26"/>
                </a:lnTo>
                <a:lnTo>
                  <a:pt x="86" y="30"/>
                </a:lnTo>
                <a:lnTo>
                  <a:pt x="84" y="34"/>
                </a:lnTo>
                <a:lnTo>
                  <a:pt x="16" y="34"/>
                </a:lnTo>
                <a:lnTo>
                  <a:pt x="16" y="332"/>
                </a:lnTo>
                <a:lnTo>
                  <a:pt x="236" y="332"/>
                </a:lnTo>
                <a:lnTo>
                  <a:pt x="236" y="34"/>
                </a:lnTo>
                <a:lnTo>
                  <a:pt x="168" y="34"/>
                </a:lnTo>
                <a:lnTo>
                  <a:pt x="168" y="34"/>
                </a:lnTo>
                <a:lnTo>
                  <a:pt x="166" y="30"/>
                </a:lnTo>
                <a:lnTo>
                  <a:pt x="164" y="26"/>
                </a:lnTo>
                <a:lnTo>
                  <a:pt x="164" y="26"/>
                </a:lnTo>
                <a:lnTo>
                  <a:pt x="162" y="16"/>
                </a:lnTo>
                <a:lnTo>
                  <a:pt x="236" y="16"/>
                </a:lnTo>
                <a:lnTo>
                  <a:pt x="236" y="16"/>
                </a:lnTo>
                <a:lnTo>
                  <a:pt x="242" y="16"/>
                </a:lnTo>
                <a:lnTo>
                  <a:pt x="248" y="20"/>
                </a:lnTo>
                <a:lnTo>
                  <a:pt x="250" y="26"/>
                </a:lnTo>
                <a:lnTo>
                  <a:pt x="252" y="32"/>
                </a:lnTo>
                <a:lnTo>
                  <a:pt x="252" y="32"/>
                </a:lnTo>
                <a:close/>
                <a:moveTo>
                  <a:pt x="216" y="94"/>
                </a:moveTo>
                <a:lnTo>
                  <a:pt x="216" y="312"/>
                </a:lnTo>
                <a:lnTo>
                  <a:pt x="36" y="312"/>
                </a:lnTo>
                <a:lnTo>
                  <a:pt x="36" y="94"/>
                </a:lnTo>
                <a:lnTo>
                  <a:pt x="36" y="94"/>
                </a:lnTo>
                <a:lnTo>
                  <a:pt x="3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close/>
                <a:moveTo>
                  <a:pt x="132" y="186"/>
                </a:moveTo>
                <a:lnTo>
                  <a:pt x="132" y="186"/>
                </a:lnTo>
                <a:lnTo>
                  <a:pt x="128" y="184"/>
                </a:lnTo>
                <a:lnTo>
                  <a:pt x="124" y="182"/>
                </a:lnTo>
                <a:lnTo>
                  <a:pt x="122" y="184"/>
                </a:lnTo>
                <a:lnTo>
                  <a:pt x="118" y="186"/>
                </a:lnTo>
                <a:lnTo>
                  <a:pt x="86" y="218"/>
                </a:lnTo>
                <a:lnTo>
                  <a:pt x="74" y="206"/>
                </a:lnTo>
                <a:lnTo>
                  <a:pt x="74" y="206"/>
                </a:lnTo>
                <a:lnTo>
                  <a:pt x="70" y="204"/>
                </a:lnTo>
                <a:lnTo>
                  <a:pt x="68" y="204"/>
                </a:lnTo>
                <a:lnTo>
                  <a:pt x="64" y="204"/>
                </a:lnTo>
                <a:lnTo>
                  <a:pt x="60" y="206"/>
                </a:lnTo>
                <a:lnTo>
                  <a:pt x="60" y="206"/>
                </a:lnTo>
                <a:lnTo>
                  <a:pt x="58" y="210"/>
                </a:lnTo>
                <a:lnTo>
                  <a:pt x="58" y="214"/>
                </a:lnTo>
                <a:lnTo>
                  <a:pt x="58" y="218"/>
                </a:lnTo>
                <a:lnTo>
                  <a:pt x="60" y="220"/>
                </a:lnTo>
                <a:lnTo>
                  <a:pt x="78" y="238"/>
                </a:lnTo>
                <a:lnTo>
                  <a:pt x="78" y="238"/>
                </a:lnTo>
                <a:lnTo>
                  <a:pt x="82" y="242"/>
                </a:lnTo>
                <a:lnTo>
                  <a:pt x="86" y="242"/>
                </a:lnTo>
                <a:lnTo>
                  <a:pt x="86" y="242"/>
                </a:lnTo>
                <a:lnTo>
                  <a:pt x="90" y="242"/>
                </a:lnTo>
                <a:lnTo>
                  <a:pt x="92" y="238"/>
                </a:lnTo>
                <a:lnTo>
                  <a:pt x="132" y="200"/>
                </a:lnTo>
                <a:lnTo>
                  <a:pt x="132" y="200"/>
                </a:lnTo>
                <a:lnTo>
                  <a:pt x="134" y="196"/>
                </a:lnTo>
                <a:lnTo>
                  <a:pt x="134" y="192"/>
                </a:lnTo>
                <a:lnTo>
                  <a:pt x="134" y="188"/>
                </a:lnTo>
                <a:lnTo>
                  <a:pt x="132" y="186"/>
                </a:lnTo>
                <a:lnTo>
                  <a:pt x="132" y="186"/>
                </a:lnTo>
                <a:close/>
                <a:moveTo>
                  <a:pt x="132" y="124"/>
                </a:moveTo>
                <a:lnTo>
                  <a:pt x="132" y="124"/>
                </a:lnTo>
                <a:lnTo>
                  <a:pt x="128" y="122"/>
                </a:lnTo>
                <a:lnTo>
                  <a:pt x="124" y="120"/>
                </a:lnTo>
                <a:lnTo>
                  <a:pt x="122" y="122"/>
                </a:lnTo>
                <a:lnTo>
                  <a:pt x="118" y="124"/>
                </a:lnTo>
                <a:lnTo>
                  <a:pt x="86" y="156"/>
                </a:lnTo>
                <a:lnTo>
                  <a:pt x="74" y="144"/>
                </a:lnTo>
                <a:lnTo>
                  <a:pt x="74" y="144"/>
                </a:lnTo>
                <a:lnTo>
                  <a:pt x="70" y="142"/>
                </a:lnTo>
                <a:lnTo>
                  <a:pt x="68" y="142"/>
                </a:lnTo>
                <a:lnTo>
                  <a:pt x="64" y="142"/>
                </a:lnTo>
                <a:lnTo>
                  <a:pt x="60" y="144"/>
                </a:lnTo>
                <a:lnTo>
                  <a:pt x="60" y="144"/>
                </a:lnTo>
                <a:lnTo>
                  <a:pt x="58" y="148"/>
                </a:lnTo>
                <a:lnTo>
                  <a:pt x="58" y="152"/>
                </a:lnTo>
                <a:lnTo>
                  <a:pt x="58" y="156"/>
                </a:lnTo>
                <a:lnTo>
                  <a:pt x="60" y="158"/>
                </a:lnTo>
                <a:lnTo>
                  <a:pt x="78" y="178"/>
                </a:lnTo>
                <a:lnTo>
                  <a:pt x="78" y="178"/>
                </a:lnTo>
                <a:lnTo>
                  <a:pt x="82" y="180"/>
                </a:lnTo>
                <a:lnTo>
                  <a:pt x="86" y="180"/>
                </a:lnTo>
                <a:lnTo>
                  <a:pt x="86" y="180"/>
                </a:lnTo>
                <a:lnTo>
                  <a:pt x="90" y="180"/>
                </a:lnTo>
                <a:lnTo>
                  <a:pt x="92" y="178"/>
                </a:lnTo>
                <a:lnTo>
                  <a:pt x="132" y="138"/>
                </a:lnTo>
                <a:lnTo>
                  <a:pt x="132" y="138"/>
                </a:lnTo>
                <a:lnTo>
                  <a:pt x="134" y="134"/>
                </a:lnTo>
                <a:lnTo>
                  <a:pt x="134" y="130"/>
                </a:lnTo>
                <a:lnTo>
                  <a:pt x="134" y="126"/>
                </a:lnTo>
                <a:lnTo>
                  <a:pt x="132" y="124"/>
                </a:lnTo>
                <a:lnTo>
                  <a:pt x="132" y="124"/>
                </a:lnTo>
                <a:close/>
                <a:moveTo>
                  <a:pt x="36" y="64"/>
                </a:moveTo>
                <a:lnTo>
                  <a:pt x="36" y="64"/>
                </a:lnTo>
                <a:lnTo>
                  <a:pt x="36" y="58"/>
                </a:lnTo>
                <a:lnTo>
                  <a:pt x="40" y="54"/>
                </a:lnTo>
                <a:lnTo>
                  <a:pt x="46" y="50"/>
                </a:lnTo>
                <a:lnTo>
                  <a:pt x="52" y="48"/>
                </a:lnTo>
                <a:lnTo>
                  <a:pt x="78" y="48"/>
                </a:lnTo>
                <a:lnTo>
                  <a:pt x="78" y="48"/>
                </a:lnTo>
                <a:lnTo>
                  <a:pt x="86" y="46"/>
                </a:lnTo>
                <a:lnTo>
                  <a:pt x="94" y="42"/>
                </a:lnTo>
                <a:lnTo>
                  <a:pt x="98" y="36"/>
                </a:lnTo>
                <a:lnTo>
                  <a:pt x="100" y="26"/>
                </a:lnTo>
                <a:lnTo>
                  <a:pt x="100" y="26"/>
                </a:lnTo>
                <a:lnTo>
                  <a:pt x="102" y="16"/>
                </a:lnTo>
                <a:lnTo>
                  <a:pt x="108" y="8"/>
                </a:lnTo>
                <a:lnTo>
                  <a:pt x="116" y="2"/>
                </a:lnTo>
                <a:lnTo>
                  <a:pt x="126" y="0"/>
                </a:lnTo>
                <a:lnTo>
                  <a:pt x="126" y="0"/>
                </a:lnTo>
                <a:lnTo>
                  <a:pt x="136" y="2"/>
                </a:lnTo>
                <a:lnTo>
                  <a:pt x="144" y="8"/>
                </a:lnTo>
                <a:lnTo>
                  <a:pt x="150" y="16"/>
                </a:lnTo>
                <a:lnTo>
                  <a:pt x="152" y="26"/>
                </a:lnTo>
                <a:lnTo>
                  <a:pt x="152" y="26"/>
                </a:lnTo>
                <a:lnTo>
                  <a:pt x="154" y="36"/>
                </a:lnTo>
                <a:lnTo>
                  <a:pt x="158" y="42"/>
                </a:lnTo>
                <a:lnTo>
                  <a:pt x="166" y="46"/>
                </a:lnTo>
                <a:lnTo>
                  <a:pt x="174" y="48"/>
                </a:lnTo>
                <a:lnTo>
                  <a:pt x="200" y="48"/>
                </a:lnTo>
                <a:lnTo>
                  <a:pt x="200" y="48"/>
                </a:lnTo>
                <a:lnTo>
                  <a:pt x="206" y="50"/>
                </a:lnTo>
                <a:lnTo>
                  <a:pt x="212" y="54"/>
                </a:lnTo>
                <a:lnTo>
                  <a:pt x="216" y="58"/>
                </a:lnTo>
                <a:lnTo>
                  <a:pt x="216" y="64"/>
                </a:lnTo>
                <a:lnTo>
                  <a:pt x="216" y="78"/>
                </a:lnTo>
                <a:lnTo>
                  <a:pt x="216" y="78"/>
                </a:lnTo>
                <a:lnTo>
                  <a:pt x="216" y="82"/>
                </a:lnTo>
                <a:lnTo>
                  <a:pt x="36" y="82"/>
                </a:lnTo>
                <a:lnTo>
                  <a:pt x="36" y="82"/>
                </a:lnTo>
                <a:lnTo>
                  <a:pt x="36" y="78"/>
                </a:lnTo>
                <a:lnTo>
                  <a:pt x="36" y="64"/>
                </a:lnTo>
                <a:close/>
                <a:moveTo>
                  <a:pt x="116" y="26"/>
                </a:moveTo>
                <a:lnTo>
                  <a:pt x="116" y="26"/>
                </a:lnTo>
                <a:lnTo>
                  <a:pt x="116" y="30"/>
                </a:lnTo>
                <a:lnTo>
                  <a:pt x="118" y="34"/>
                </a:lnTo>
                <a:lnTo>
                  <a:pt x="122" y="36"/>
                </a:lnTo>
                <a:lnTo>
                  <a:pt x="126" y="38"/>
                </a:lnTo>
                <a:lnTo>
                  <a:pt x="126" y="38"/>
                </a:lnTo>
                <a:lnTo>
                  <a:pt x="130" y="36"/>
                </a:lnTo>
                <a:lnTo>
                  <a:pt x="134" y="34"/>
                </a:lnTo>
                <a:lnTo>
                  <a:pt x="136" y="30"/>
                </a:lnTo>
                <a:lnTo>
                  <a:pt x="136" y="26"/>
                </a:lnTo>
                <a:lnTo>
                  <a:pt x="136" y="26"/>
                </a:lnTo>
                <a:lnTo>
                  <a:pt x="136" y="22"/>
                </a:lnTo>
                <a:lnTo>
                  <a:pt x="134" y="20"/>
                </a:lnTo>
                <a:lnTo>
                  <a:pt x="130" y="16"/>
                </a:lnTo>
                <a:lnTo>
                  <a:pt x="126" y="16"/>
                </a:lnTo>
                <a:lnTo>
                  <a:pt x="126" y="16"/>
                </a:lnTo>
                <a:lnTo>
                  <a:pt x="122" y="16"/>
                </a:lnTo>
                <a:lnTo>
                  <a:pt x="118" y="20"/>
                </a:lnTo>
                <a:lnTo>
                  <a:pt x="116" y="22"/>
                </a:lnTo>
                <a:lnTo>
                  <a:pt x="116" y="26"/>
                </a:lnTo>
                <a:lnTo>
                  <a:pt x="116" y="26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242" tIns="45608" rIns="91242" bIns="45608" anchor="t" anchorCtr="0">
            <a:noAutofit/>
          </a:bodyPr>
          <a:lstStyle/>
          <a:p>
            <a:endParaRPr sz="700" u="sng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" name="Google Shape;240;p7"/>
          <p:cNvSpPr txBox="1"/>
          <p:nvPr/>
        </p:nvSpPr>
        <p:spPr>
          <a:xfrm>
            <a:off x="78693" y="578733"/>
            <a:ext cx="12181599" cy="387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2" tIns="45658" rIns="91342" bIns="45658" anchor="b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600" b="1" dirty="0">
                <a:solidFill>
                  <a:srgbClr val="003580"/>
                </a:solidFill>
                <a:latin typeface="Open Sans ExtraBold"/>
                <a:ea typeface="Open Sans ExtraBold"/>
                <a:cs typeface="Open Sans ExtraBold"/>
                <a:sym typeface="Open Sans ExtraBold"/>
              </a:rPr>
              <a:t>FINNISH VET MODEL</a:t>
            </a:r>
            <a:endParaRPr sz="2600" b="1" dirty="0">
              <a:solidFill>
                <a:srgbClr val="003580"/>
              </a:solidFill>
              <a:latin typeface="Open Sans ExtraBold"/>
              <a:ea typeface="Open Sans ExtraBold"/>
              <a:cs typeface="Open Sans ExtraBold"/>
              <a:sym typeface="Open Sans ExtraBold"/>
            </a:endParaRPr>
          </a:p>
        </p:txBody>
      </p:sp>
      <p:sp>
        <p:nvSpPr>
          <p:cNvPr id="242" name="Google Shape;242;p7"/>
          <p:cNvSpPr/>
          <p:nvPr/>
        </p:nvSpPr>
        <p:spPr>
          <a:xfrm>
            <a:off x="5146585" y="1087683"/>
            <a:ext cx="681619" cy="681621"/>
          </a:xfrm>
          <a:prstGeom prst="ellipse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342" tIns="45658" rIns="91342" bIns="45658" anchor="ctr" anchorCtr="0">
            <a:noAutofit/>
          </a:bodyPr>
          <a:lstStyle/>
          <a:p>
            <a:pPr algn="ctr"/>
            <a:endParaRPr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43" name="Google Shape;243;p7"/>
          <p:cNvSpPr/>
          <p:nvPr/>
        </p:nvSpPr>
        <p:spPr>
          <a:xfrm>
            <a:off x="5219296" y="1160435"/>
            <a:ext cx="536196" cy="536199"/>
          </a:xfrm>
          <a:prstGeom prst="ellipse">
            <a:avLst/>
          </a:prstGeom>
          <a:solidFill>
            <a:srgbClr val="81B0E4"/>
          </a:solidFill>
          <a:ln>
            <a:noFill/>
          </a:ln>
        </p:spPr>
        <p:txBody>
          <a:bodyPr spcFirstLastPara="1" wrap="square" lIns="91342" tIns="45658" rIns="91342" bIns="45658" anchor="ctr" anchorCtr="0">
            <a:noAutofit/>
          </a:bodyPr>
          <a:lstStyle/>
          <a:p>
            <a:pPr algn="ctr"/>
            <a:endParaRPr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44" name="Google Shape;244;p7" descr="Network diagram with solid fill"/>
          <p:cNvPicPr preferRelativeResize="0"/>
          <p:nvPr/>
        </p:nvPicPr>
        <p:blipFill rotWithShape="1"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8237" y="1177780"/>
            <a:ext cx="519662" cy="519662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" name="Google Shape;245;p7" descr="Download from cloud with solid fill"/>
          <p:cNvPicPr preferRelativeResize="0"/>
          <p:nvPr/>
        </p:nvPicPr>
        <p:blipFill rotWithShape="1">
          <a:blip r:embed="rId6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7830" y="3179679"/>
            <a:ext cx="459782" cy="45978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139;p5">
            <a:extLst>
              <a:ext uri="{FF2B5EF4-FFF2-40B4-BE49-F238E27FC236}">
                <a16:creationId xmlns:a16="http://schemas.microsoft.com/office/drawing/2014/main" id="{D36B1663-3D31-90B2-C6F4-12A2ECCF6981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p26"/>
          <p:cNvSpPr txBox="1"/>
          <p:nvPr/>
        </p:nvSpPr>
        <p:spPr>
          <a:xfrm>
            <a:off x="4264984" y="754078"/>
            <a:ext cx="8107083" cy="5103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1966" marR="0" lvl="0" indent="-34196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7" name="Google Shape;357;p26"/>
          <p:cNvSpPr/>
          <p:nvPr/>
        </p:nvSpPr>
        <p:spPr>
          <a:xfrm>
            <a:off x="1549199" y="1469972"/>
            <a:ext cx="9678125" cy="4493209"/>
          </a:xfrm>
          <a:custGeom>
            <a:avLst/>
            <a:gdLst>
              <a:gd name="connsiteX0" fmla="*/ 0 w 9678125"/>
              <a:gd name="connsiteY0" fmla="*/ 1391966 h 5567864"/>
              <a:gd name="connsiteX1" fmla="*/ 6407506 w 9678125"/>
              <a:gd name="connsiteY1" fmla="*/ 1391966 h 5567864"/>
              <a:gd name="connsiteX2" fmla="*/ 6407506 w 9678125"/>
              <a:gd name="connsiteY2" fmla="*/ 0 h 5567864"/>
              <a:gd name="connsiteX3" fmla="*/ 9678125 w 9678125"/>
              <a:gd name="connsiteY3" fmla="*/ 2783932 h 5567864"/>
              <a:gd name="connsiteX4" fmla="*/ 6407506 w 9678125"/>
              <a:gd name="connsiteY4" fmla="*/ 5567864 h 5567864"/>
              <a:gd name="connsiteX5" fmla="*/ 6407506 w 9678125"/>
              <a:gd name="connsiteY5" fmla="*/ 4175898 h 5567864"/>
              <a:gd name="connsiteX6" fmla="*/ 0 w 9678125"/>
              <a:gd name="connsiteY6" fmla="*/ 4175898 h 5567864"/>
              <a:gd name="connsiteX7" fmla="*/ 0 w 9678125"/>
              <a:gd name="connsiteY7" fmla="*/ 1391966 h 5567864"/>
              <a:gd name="connsiteX0" fmla="*/ 0 w 9678125"/>
              <a:gd name="connsiteY0" fmla="*/ 892346 h 5068244"/>
              <a:gd name="connsiteX1" fmla="*/ 6407506 w 9678125"/>
              <a:gd name="connsiteY1" fmla="*/ 892346 h 5068244"/>
              <a:gd name="connsiteX2" fmla="*/ 6388652 w 9678125"/>
              <a:gd name="connsiteY2" fmla="*/ 0 h 5068244"/>
              <a:gd name="connsiteX3" fmla="*/ 9678125 w 9678125"/>
              <a:gd name="connsiteY3" fmla="*/ 2284312 h 5068244"/>
              <a:gd name="connsiteX4" fmla="*/ 6407506 w 9678125"/>
              <a:gd name="connsiteY4" fmla="*/ 5068244 h 5068244"/>
              <a:gd name="connsiteX5" fmla="*/ 6407506 w 9678125"/>
              <a:gd name="connsiteY5" fmla="*/ 3676278 h 5068244"/>
              <a:gd name="connsiteX6" fmla="*/ 0 w 9678125"/>
              <a:gd name="connsiteY6" fmla="*/ 3676278 h 5068244"/>
              <a:gd name="connsiteX7" fmla="*/ 0 w 9678125"/>
              <a:gd name="connsiteY7" fmla="*/ 892346 h 5068244"/>
              <a:gd name="connsiteX0" fmla="*/ 0 w 9678125"/>
              <a:gd name="connsiteY0" fmla="*/ 892346 h 4493209"/>
              <a:gd name="connsiteX1" fmla="*/ 6407506 w 9678125"/>
              <a:gd name="connsiteY1" fmla="*/ 892346 h 4493209"/>
              <a:gd name="connsiteX2" fmla="*/ 6388652 w 9678125"/>
              <a:gd name="connsiteY2" fmla="*/ 0 h 4493209"/>
              <a:gd name="connsiteX3" fmla="*/ 9678125 w 9678125"/>
              <a:gd name="connsiteY3" fmla="*/ 2284312 h 4493209"/>
              <a:gd name="connsiteX4" fmla="*/ 6426360 w 9678125"/>
              <a:gd name="connsiteY4" fmla="*/ 4493209 h 4493209"/>
              <a:gd name="connsiteX5" fmla="*/ 6407506 w 9678125"/>
              <a:gd name="connsiteY5" fmla="*/ 3676278 h 4493209"/>
              <a:gd name="connsiteX6" fmla="*/ 0 w 9678125"/>
              <a:gd name="connsiteY6" fmla="*/ 3676278 h 4493209"/>
              <a:gd name="connsiteX7" fmla="*/ 0 w 9678125"/>
              <a:gd name="connsiteY7" fmla="*/ 892346 h 4493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78125" h="4493209">
                <a:moveTo>
                  <a:pt x="0" y="892346"/>
                </a:moveTo>
                <a:lnTo>
                  <a:pt x="6407506" y="892346"/>
                </a:lnTo>
                <a:lnTo>
                  <a:pt x="6388652" y="0"/>
                </a:lnTo>
                <a:lnTo>
                  <a:pt x="9678125" y="2284312"/>
                </a:lnTo>
                <a:lnTo>
                  <a:pt x="6426360" y="4493209"/>
                </a:lnTo>
                <a:lnTo>
                  <a:pt x="6407506" y="3676278"/>
                </a:lnTo>
                <a:lnTo>
                  <a:pt x="0" y="3676278"/>
                </a:lnTo>
                <a:lnTo>
                  <a:pt x="0" y="892346"/>
                </a:lnTo>
                <a:close/>
              </a:path>
            </a:pathLst>
          </a:custGeom>
          <a:solidFill>
            <a:srgbClr val="C8E3FC"/>
          </a:solidFill>
          <a:ln>
            <a:noFill/>
          </a:ln>
          <a:effectLst>
            <a:outerShdw blurRad="44450" dist="27940" dir="5400000" algn="ctr">
              <a:srgbClr val="000000">
                <a:alpha val="31372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8" name="Google Shape;358;p26"/>
          <p:cNvSpPr txBox="1"/>
          <p:nvPr/>
        </p:nvSpPr>
        <p:spPr>
          <a:xfrm>
            <a:off x="1800650" y="2276945"/>
            <a:ext cx="2506406" cy="2400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1" i="0" u="none" strike="noStrike" cap="none" dirty="0">
              <a:solidFill>
                <a:schemeClr val="dk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ystem level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800" i="1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sed on</a:t>
            </a:r>
            <a: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skills forecasting</a:t>
            </a:r>
            <a:endParaRPr sz="1400" b="0" i="1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800" i="1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eded in working life</a:t>
            </a:r>
            <a:endParaRPr sz="1400" b="0" i="1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Responsiveness to change</a:t>
            </a:r>
            <a:endParaRPr sz="1400" b="0" i="1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360" name="Google Shape;360;p26"/>
          <p:cNvSpPr txBox="1"/>
          <p:nvPr/>
        </p:nvSpPr>
        <p:spPr>
          <a:xfrm>
            <a:off x="4420085" y="2274020"/>
            <a:ext cx="2500253" cy="2477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1" i="0" u="none" strike="noStrike" cap="none" dirty="0">
              <a:solidFill>
                <a:schemeClr val="dk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incipl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Flexibility</a:t>
            </a:r>
            <a:endParaRPr sz="1400" b="0" i="1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Individual pathways </a:t>
            </a:r>
            <a:b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to qualifications</a:t>
            </a:r>
            <a:endParaRPr sz="1400" b="0" i="1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800" b="0" i="1" u="none" strike="noStrike" cap="none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Upskilling paths</a:t>
            </a:r>
          </a:p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800" i="1" dirty="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lidated in practice</a:t>
            </a:r>
            <a:endParaRPr sz="1400" b="0" i="1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361" name="Google Shape;361;p26"/>
          <p:cNvSpPr txBox="1"/>
          <p:nvPr/>
        </p:nvSpPr>
        <p:spPr>
          <a:xfrm>
            <a:off x="596238" y="506823"/>
            <a:ext cx="10997933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chemeClr val="dk2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  <a:sym typeface="Arial"/>
              </a:rPr>
              <a:t>OBJECTIVES OF THE FINNISH VET QUALIFICATIONS</a:t>
            </a:r>
            <a:endParaRPr lang="en-US" sz="2800" b="1" i="0" u="none" strike="noStrike" cap="none" dirty="0">
              <a:solidFill>
                <a:srgbClr val="000000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  <a:sym typeface="Arial"/>
            </a:endParaRPr>
          </a:p>
        </p:txBody>
      </p:sp>
      <p:sp>
        <p:nvSpPr>
          <p:cNvPr id="362" name="Google Shape;362;p26"/>
          <p:cNvSpPr/>
          <p:nvPr/>
        </p:nvSpPr>
        <p:spPr>
          <a:xfrm>
            <a:off x="6797265" y="2015275"/>
            <a:ext cx="3063170" cy="3678515"/>
          </a:xfrm>
          <a:prstGeom prst="ellipse">
            <a:avLst/>
          </a:prstGeom>
          <a:noFill/>
          <a:ln w="76200" cap="flat" cmpd="sng">
            <a:solidFill>
              <a:srgbClr val="254C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2" name="Google Shape;359;p26">
            <a:extLst>
              <a:ext uri="{FF2B5EF4-FFF2-40B4-BE49-F238E27FC236}">
                <a16:creationId xmlns:a16="http://schemas.microsoft.com/office/drawing/2014/main" id="{1E8605DD-32D6-F570-7CA9-64ED8D09D8D5}"/>
              </a:ext>
            </a:extLst>
          </p:cNvPr>
          <p:cNvSpPr txBox="1"/>
          <p:nvPr/>
        </p:nvSpPr>
        <p:spPr>
          <a:xfrm>
            <a:off x="7206423" y="2535689"/>
            <a:ext cx="2409477" cy="2554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b="1" i="0" u="none" strike="noStrike" cap="none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Focus o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endParaRPr lang="en-US" sz="1400" b="1" i="0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</a:pPr>
            <a:r>
              <a:rPr lang="en-US" sz="1600" b="1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en-US" sz="1600" b="1" i="1" u="none" strike="noStrike" cap="none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arning outcomes</a:t>
            </a:r>
            <a:endParaRPr sz="1600" b="0" i="0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</a:pPr>
            <a:r>
              <a:rPr lang="en-US" sz="1600" b="1" i="1" u="none" strike="noStrike" cap="none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Ability to apply and keep learning </a:t>
            </a:r>
            <a:endParaRPr sz="1600" b="0" i="0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</a:pPr>
            <a:r>
              <a:rPr lang="en-US" sz="1600" b="1" i="1" u="none" strike="noStrike" cap="none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High level professional capacity 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</a:pPr>
            <a:r>
              <a:rPr lang="en-US" sz="1600" b="1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sessed in real work context</a:t>
            </a:r>
            <a:endParaRPr sz="2000" b="0" i="0" u="none" strike="noStrike" cap="none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4" name="Google Shape;139;p5">
            <a:extLst>
              <a:ext uri="{FF2B5EF4-FFF2-40B4-BE49-F238E27FC236}">
                <a16:creationId xmlns:a16="http://schemas.microsoft.com/office/drawing/2014/main" id="{F4BBAF1A-728F-9EBD-B5FE-866EC22523DA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1">
            <a:extLst>
              <a:ext uri="{FF2B5EF4-FFF2-40B4-BE49-F238E27FC236}">
                <a16:creationId xmlns:a16="http://schemas.microsoft.com/office/drawing/2014/main" id="{EA7A6EA3-BB85-5519-1F48-688249FCA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1672" y="335259"/>
            <a:ext cx="7034018" cy="594409"/>
          </a:xfrm>
        </p:spPr>
        <p:txBody>
          <a:bodyPr>
            <a:normAutofit fontScale="90000"/>
          </a:bodyPr>
          <a:lstStyle/>
          <a:p>
            <a:r>
              <a:rPr lang="en-US" dirty="0"/>
              <a:t>STRUCTURE OF </a:t>
            </a:r>
            <a:r>
              <a:rPr lang="en-US" sz="2900" dirty="0"/>
              <a:t>FINNISH</a:t>
            </a:r>
            <a:r>
              <a:rPr lang="en-US" dirty="0"/>
              <a:t> VET PROGRAMS</a:t>
            </a:r>
          </a:p>
        </p:txBody>
      </p:sp>
      <p:sp>
        <p:nvSpPr>
          <p:cNvPr id="52" name="Google Shape;139;p5">
            <a:extLst>
              <a:ext uri="{FF2B5EF4-FFF2-40B4-BE49-F238E27FC236}">
                <a16:creationId xmlns:a16="http://schemas.microsoft.com/office/drawing/2014/main" id="{20764853-7D8F-A63D-BFE9-30F8AEE167FF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A871AE80-B17C-282C-6033-442525775C4F}"/>
              </a:ext>
            </a:extLst>
          </p:cNvPr>
          <p:cNvCxnSpPr>
            <a:cxnSpLocks/>
          </p:cNvCxnSpPr>
          <p:nvPr/>
        </p:nvCxnSpPr>
        <p:spPr>
          <a:xfrm flipV="1">
            <a:off x="4283079" y="3429794"/>
            <a:ext cx="676245" cy="647692"/>
          </a:xfrm>
          <a:prstGeom prst="bentConnector3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880D45E1-7F93-647D-363A-D1340D6BE0C4}"/>
              </a:ext>
            </a:extLst>
          </p:cNvPr>
          <p:cNvCxnSpPr>
            <a:cxnSpLocks/>
          </p:cNvCxnSpPr>
          <p:nvPr/>
        </p:nvCxnSpPr>
        <p:spPr>
          <a:xfrm flipV="1">
            <a:off x="7074936" y="2359981"/>
            <a:ext cx="754354" cy="509132"/>
          </a:xfrm>
          <a:prstGeom prst="bentConnector3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93EDD6E-87E1-653C-E43F-3C3886A51069}"/>
              </a:ext>
            </a:extLst>
          </p:cNvPr>
          <p:cNvSpPr txBox="1"/>
          <p:nvPr/>
        </p:nvSpPr>
        <p:spPr>
          <a:xfrm>
            <a:off x="2544839" y="5238098"/>
            <a:ext cx="3716751" cy="307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(*Recognition of Prior Learning)</a:t>
            </a:r>
            <a:endParaRPr lang="en-FI" sz="1400" i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150FD5-3FC3-8FC7-DF57-D473993A2F1E}"/>
              </a:ext>
            </a:extLst>
          </p:cNvPr>
          <p:cNvSpPr txBox="1"/>
          <p:nvPr/>
        </p:nvSpPr>
        <p:spPr>
          <a:xfrm>
            <a:off x="2346084" y="1871203"/>
            <a:ext cx="1992463" cy="2629572"/>
          </a:xfrm>
          <a:prstGeom prst="rect">
            <a:avLst/>
          </a:prstGeom>
          <a:solidFill>
            <a:schemeClr val="bg1"/>
          </a:solidFill>
          <a:effectLst>
            <a:outerShdw blurRad="586246" dist="146000" dir="5400000" sx="98000" sy="98000" algn="t" rotWithShape="0">
              <a:prstClr val="black">
                <a:alpha val="22000"/>
              </a:prstClr>
            </a:outerShdw>
          </a:effectLst>
        </p:spPr>
        <p:txBody>
          <a:bodyPr wrap="square" lIns="143981" tIns="143981" rIns="143981" bIns="143981" rtlCol="0">
            <a:spAutoFit/>
          </a:bodyPr>
          <a:lstStyle/>
          <a:p>
            <a:pPr algn="ctr" defTabSz="914126">
              <a:defRPr/>
            </a:pPr>
            <a:r>
              <a:rPr lang="en-US" sz="1400" b="1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ersonalized study plan based of RPL*</a:t>
            </a:r>
          </a:p>
          <a:p>
            <a:pPr algn="ctr" defTabSz="914126">
              <a:defRPr/>
            </a:pPr>
            <a:endParaRPr lang="en-US" sz="1400" b="1" dirty="0">
              <a:solidFill>
                <a:srgbClr val="00358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algn="ctr" defTabSz="914126">
              <a:defRPr/>
            </a:pPr>
            <a:endParaRPr lang="en-US" sz="1200" b="1" dirty="0">
              <a:solidFill>
                <a:srgbClr val="003580"/>
              </a:solidFill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  <a:sym typeface="Arial"/>
            </a:endParaRPr>
          </a:p>
          <a:p>
            <a:pPr algn="ctr" defTabSz="914126"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Open Sans" panose="020B0606030504020204" pitchFamily="34" charset="0"/>
                <a:cs typeface="Arial"/>
                <a:sym typeface="Arial"/>
              </a:rPr>
              <a:t>All qualifications have compulsory and elective modules as well as cross-cutting lifelong learning competence goa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60DF0B-F2B0-BBFF-B459-75F3FDF25B48}"/>
              </a:ext>
            </a:extLst>
          </p:cNvPr>
          <p:cNvSpPr txBox="1"/>
          <p:nvPr/>
        </p:nvSpPr>
        <p:spPr>
          <a:xfrm>
            <a:off x="4958048" y="1566107"/>
            <a:ext cx="2238737" cy="3060403"/>
          </a:xfrm>
          <a:prstGeom prst="rect">
            <a:avLst/>
          </a:prstGeom>
          <a:solidFill>
            <a:schemeClr val="bg1"/>
          </a:solidFill>
          <a:effectLst>
            <a:outerShdw blurRad="586246" dist="146000" dir="5400000" sx="98000" sy="98000" algn="t" rotWithShape="0">
              <a:prstClr val="black">
                <a:alpha val="22000"/>
              </a:prstClr>
            </a:outerShdw>
          </a:effectLst>
        </p:spPr>
        <p:txBody>
          <a:bodyPr wrap="square" lIns="143981" tIns="143981" rIns="143981" bIns="143981" rtlCol="0">
            <a:spAutoFit/>
          </a:bodyPr>
          <a:lstStyle/>
          <a:p>
            <a:pPr algn="ctr" defTabSz="914126">
              <a:defRPr/>
            </a:pPr>
            <a:r>
              <a:rPr lang="en-US" sz="1400" b="1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Learning and assessing professional competencies and soft skills </a:t>
            </a:r>
          </a:p>
          <a:p>
            <a:pPr algn="ctr" defTabSz="914126">
              <a:defRPr/>
            </a:pPr>
            <a:endParaRPr lang="en-US" sz="1200" b="1" dirty="0">
              <a:solidFill>
                <a:srgbClr val="003580"/>
              </a:solidFill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  <a:sym typeface="Arial"/>
            </a:endParaRPr>
          </a:p>
          <a:p>
            <a:pPr algn="ctr" defTabSz="914126"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Open Sans" panose="020B0606030504020204" pitchFamily="34" charset="0"/>
                <a:cs typeface="Arial"/>
                <a:sym typeface="Arial"/>
              </a:rPr>
              <a:t>Flexible learning and assessment in diverse environments;</a:t>
            </a:r>
          </a:p>
          <a:p>
            <a:pPr algn="ctr" defTabSz="914126"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Open Sans" panose="020B0606030504020204" pitchFamily="34" charset="0"/>
                <a:cs typeface="Arial"/>
                <a:sym typeface="Arial"/>
              </a:rPr>
              <a:t>at workplace, at school workshops and labs, online, through projects, etc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B1A439-57AC-9183-179E-86735B009B62}"/>
              </a:ext>
            </a:extLst>
          </p:cNvPr>
          <p:cNvSpPr txBox="1"/>
          <p:nvPr/>
        </p:nvSpPr>
        <p:spPr>
          <a:xfrm>
            <a:off x="7841795" y="1710956"/>
            <a:ext cx="2238736" cy="2198741"/>
          </a:xfrm>
          <a:prstGeom prst="rect">
            <a:avLst/>
          </a:prstGeom>
          <a:solidFill>
            <a:schemeClr val="bg1"/>
          </a:solidFill>
          <a:effectLst>
            <a:outerShdw blurRad="586246" dist="146000" dir="5400000" sx="98000" sy="98000" algn="t" rotWithShape="0">
              <a:prstClr val="black">
                <a:alpha val="22000"/>
              </a:prstClr>
            </a:outerShdw>
          </a:effectLst>
        </p:spPr>
        <p:txBody>
          <a:bodyPr wrap="square" lIns="143981" tIns="143981" rIns="143981" bIns="143981" rtlCol="0">
            <a:spAutoFit/>
          </a:bodyPr>
          <a:lstStyle/>
          <a:p>
            <a:pPr algn="ctr" defTabSz="914126">
              <a:defRPr/>
            </a:pPr>
            <a:r>
              <a:rPr lang="en-US" sz="1400" b="1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Competence assessment in practice</a:t>
            </a:r>
          </a:p>
          <a:p>
            <a:pPr algn="ctr" defTabSz="914126">
              <a:defRPr/>
            </a:pPr>
            <a:endParaRPr lang="en-US" sz="1200" b="1" dirty="0">
              <a:solidFill>
                <a:srgbClr val="003580"/>
              </a:solidFill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  <a:sym typeface="Arial"/>
            </a:endParaRPr>
          </a:p>
          <a:p>
            <a:pPr algn="ctr" defTabSz="914126"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Open Sans" panose="020B0606030504020204" pitchFamily="34" charset="0"/>
                <a:cs typeface="Arial"/>
                <a:sym typeface="Arial"/>
              </a:rPr>
              <a:t>Competence demonstrations through out the studies in working life environments</a:t>
            </a:r>
          </a:p>
        </p:txBody>
      </p:sp>
      <p:sp>
        <p:nvSpPr>
          <p:cNvPr id="21" name="Google Shape;288;p10">
            <a:extLst>
              <a:ext uri="{FF2B5EF4-FFF2-40B4-BE49-F238E27FC236}">
                <a16:creationId xmlns:a16="http://schemas.microsoft.com/office/drawing/2014/main" id="{C7A37717-5F50-8379-1781-9A4F600C0EBE}"/>
              </a:ext>
            </a:extLst>
          </p:cNvPr>
          <p:cNvSpPr/>
          <p:nvPr/>
        </p:nvSpPr>
        <p:spPr>
          <a:xfrm>
            <a:off x="1494952" y="4128846"/>
            <a:ext cx="1169139" cy="1169138"/>
          </a:xfrm>
          <a:prstGeom prst="ellipse">
            <a:avLst/>
          </a:prstGeom>
          <a:solidFill>
            <a:srgbClr val="8EC5F7"/>
          </a:solidFill>
          <a:ln>
            <a:noFill/>
          </a:ln>
        </p:spPr>
        <p:txBody>
          <a:bodyPr spcFirstLastPara="1" wrap="square" lIns="91413" tIns="45694" rIns="91413" bIns="45694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289;p10">
            <a:extLst>
              <a:ext uri="{FF2B5EF4-FFF2-40B4-BE49-F238E27FC236}">
                <a16:creationId xmlns:a16="http://schemas.microsoft.com/office/drawing/2014/main" id="{5AD46ADC-7B9B-2769-9E03-6A11CB2AD122}"/>
              </a:ext>
            </a:extLst>
          </p:cNvPr>
          <p:cNvSpPr/>
          <p:nvPr/>
        </p:nvSpPr>
        <p:spPr>
          <a:xfrm>
            <a:off x="1545289" y="4176625"/>
            <a:ext cx="1073579" cy="1073579"/>
          </a:xfrm>
          <a:prstGeom prst="ellipse">
            <a:avLst/>
          </a:prstGeom>
          <a:solidFill>
            <a:schemeClr val="dk1">
              <a:alpha val="8627"/>
            </a:schemeClr>
          </a:solidFill>
          <a:ln>
            <a:noFill/>
          </a:ln>
        </p:spPr>
        <p:txBody>
          <a:bodyPr spcFirstLastPara="1" wrap="square" lIns="91413" tIns="45694" rIns="91413" bIns="45694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0F21A4E-F873-5A1B-B391-8B87BE3B1A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0897" y="1037320"/>
            <a:ext cx="1170381" cy="1170381"/>
          </a:xfrm>
          <a:prstGeom prst="rect">
            <a:avLst/>
          </a:prstGeom>
        </p:spPr>
      </p:pic>
      <p:sp>
        <p:nvSpPr>
          <p:cNvPr id="54" name="Google Shape;289;p10">
            <a:extLst>
              <a:ext uri="{FF2B5EF4-FFF2-40B4-BE49-F238E27FC236}">
                <a16:creationId xmlns:a16="http://schemas.microsoft.com/office/drawing/2014/main" id="{DF3A7B7F-30CF-6811-6CFB-3B47FBD0B741}"/>
              </a:ext>
            </a:extLst>
          </p:cNvPr>
          <p:cNvSpPr/>
          <p:nvPr/>
        </p:nvSpPr>
        <p:spPr>
          <a:xfrm>
            <a:off x="9619297" y="1081756"/>
            <a:ext cx="1073579" cy="1073579"/>
          </a:xfrm>
          <a:prstGeom prst="ellipse">
            <a:avLst/>
          </a:prstGeom>
          <a:solidFill>
            <a:schemeClr val="dk1">
              <a:alpha val="8627"/>
            </a:schemeClr>
          </a:solidFill>
          <a:ln>
            <a:noFill/>
          </a:ln>
        </p:spPr>
        <p:txBody>
          <a:bodyPr spcFirstLastPara="1" wrap="square" lIns="91413" tIns="45694" rIns="91413" bIns="45694" anchor="t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B8735E-3DA4-B33C-AE93-E8381D797401}"/>
              </a:ext>
            </a:extLst>
          </p:cNvPr>
          <p:cNvSpPr txBox="1"/>
          <p:nvPr/>
        </p:nvSpPr>
        <p:spPr>
          <a:xfrm>
            <a:off x="1440986" y="4558865"/>
            <a:ext cx="1266632" cy="3077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3480"/>
              </a:buClr>
              <a:buSzPts val="1600"/>
            </a:pPr>
            <a:r>
              <a:rPr lang="en-US" sz="1400" b="1" dirty="0">
                <a:solidFill>
                  <a:srgbClr val="003480"/>
                </a:solidFill>
                <a:latin typeface="Open Sans ExtraBold"/>
                <a:ea typeface="Open Sans ExtraBold"/>
                <a:cs typeface="Open Sans ExtraBold"/>
                <a:sym typeface="Open Sans ExtraBold"/>
              </a:rPr>
              <a:t>Enrollment</a:t>
            </a:r>
            <a:endParaRPr lang="en-US" sz="1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4E7FFB8-77DD-C120-F042-ECA270C3915E}"/>
              </a:ext>
            </a:extLst>
          </p:cNvPr>
          <p:cNvSpPr txBox="1"/>
          <p:nvPr/>
        </p:nvSpPr>
        <p:spPr>
          <a:xfrm>
            <a:off x="9606792" y="1487757"/>
            <a:ext cx="1112640" cy="3077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3480"/>
              </a:buClr>
              <a:buSzPts val="1600"/>
            </a:pPr>
            <a:r>
              <a:rPr lang="en-US" sz="1400" b="1" dirty="0">
                <a:solidFill>
                  <a:srgbClr val="003480"/>
                </a:solidFill>
                <a:latin typeface="Open Sans ExtraBold"/>
                <a:ea typeface="Open Sans ExtraBold"/>
                <a:cs typeface="Open Sans ExtraBold"/>
                <a:sym typeface="Open Sans ExtraBold"/>
              </a:rPr>
              <a:t>Diploma</a:t>
            </a:r>
            <a:endParaRPr lang="en-US" sz="1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82780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Rectangle 139">
            <a:extLst>
              <a:ext uri="{FF2B5EF4-FFF2-40B4-BE49-F238E27FC236}">
                <a16:creationId xmlns:a16="http://schemas.microsoft.com/office/drawing/2014/main" id="{CBA064DE-E347-4949-B779-8E67AFB38BD5}"/>
              </a:ext>
            </a:extLst>
          </p:cNvPr>
          <p:cNvSpPr/>
          <p:nvPr/>
        </p:nvSpPr>
        <p:spPr>
          <a:xfrm>
            <a:off x="7034525" y="1367416"/>
            <a:ext cx="1070740" cy="323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126">
              <a:buClr>
                <a:srgbClr val="000000"/>
              </a:buClr>
            </a:pPr>
            <a:r>
              <a:rPr lang="en-US" sz="1500" b="1" kern="0" dirty="0">
                <a:solidFill>
                  <a:prstClr val="white"/>
                </a:solidFill>
                <a:latin typeface="Arial"/>
                <a:cs typeface="Arial"/>
                <a:sym typeface="Arial"/>
              </a:rPr>
              <a:t>REFLECT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CE8795-1E38-9B43-9BC1-584FCCAC09BE}"/>
              </a:ext>
            </a:extLst>
          </p:cNvPr>
          <p:cNvSpPr/>
          <p:nvPr/>
        </p:nvSpPr>
        <p:spPr>
          <a:xfrm>
            <a:off x="4381872" y="1349148"/>
            <a:ext cx="825568" cy="323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126">
              <a:buClr>
                <a:srgbClr val="000000"/>
              </a:buClr>
            </a:pPr>
            <a:r>
              <a:rPr lang="en-US" sz="1500" b="1" kern="0" dirty="0">
                <a:solidFill>
                  <a:prstClr val="white"/>
                </a:solidFill>
                <a:latin typeface="Arial"/>
                <a:cs typeface="Arial"/>
                <a:sym typeface="Arial"/>
              </a:rPr>
              <a:t>APPLY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BA7788E-8A4D-CF48-AD2C-9FABE67E65DD}"/>
              </a:ext>
            </a:extLst>
          </p:cNvPr>
          <p:cNvSpPr/>
          <p:nvPr/>
        </p:nvSpPr>
        <p:spPr>
          <a:xfrm>
            <a:off x="1489135" y="1355145"/>
            <a:ext cx="848004" cy="323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126">
              <a:buClr>
                <a:srgbClr val="000000"/>
              </a:buClr>
            </a:pPr>
            <a:r>
              <a:rPr lang="en-US" sz="1500" b="1" kern="0" dirty="0">
                <a:solidFill>
                  <a:prstClr val="white"/>
                </a:solidFill>
                <a:latin typeface="Arial"/>
                <a:cs typeface="Arial"/>
                <a:sym typeface="Arial"/>
              </a:rPr>
              <a:t>LEARN</a:t>
            </a:r>
            <a:endParaRPr lang="en-IN" sz="1500" b="1" kern="0" dirty="0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61624" y="6452590"/>
            <a:ext cx="391744" cy="365077"/>
          </a:xfrm>
        </p:spPr>
        <p:txBody>
          <a:bodyPr/>
          <a:lstStyle/>
          <a:p>
            <a:pPr defTabSz="914126">
              <a:buClr>
                <a:srgbClr val="000000"/>
              </a:buClr>
            </a:pPr>
            <a:fld id="{B1EEA229-0096-49BD-81C1-58B039421B74}" type="slidenum">
              <a:rPr lang="en-US" kern="0">
                <a:solidFill>
                  <a:prstClr val="white"/>
                </a:solidFill>
                <a:sym typeface="Arial"/>
              </a:rPr>
              <a:pPr defTabSz="914126">
                <a:buClr>
                  <a:srgbClr val="000000"/>
                </a:buClr>
              </a:pPr>
              <a:t>8</a:t>
            </a:fld>
            <a:endParaRPr lang="en-US" kern="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9A522414-3792-E74A-8422-8F38B8E59FC8}"/>
              </a:ext>
            </a:extLst>
          </p:cNvPr>
          <p:cNvSpPr txBox="1"/>
          <p:nvPr/>
        </p:nvSpPr>
        <p:spPr>
          <a:xfrm>
            <a:off x="6216638" y="2351586"/>
            <a:ext cx="2568416" cy="4125949"/>
          </a:xfrm>
          <a:prstGeom prst="rect">
            <a:avLst/>
          </a:prstGeom>
          <a:solidFill>
            <a:schemeClr val="bg1"/>
          </a:solidFill>
          <a:effectLst>
            <a:outerShdw blurRad="586246" dist="146000" dir="5400000" sx="98000" sy="98000" algn="t" rotWithShape="0">
              <a:prstClr val="black">
                <a:alpha val="22000"/>
              </a:prstClr>
            </a:outerShdw>
          </a:effectLst>
        </p:spPr>
        <p:txBody>
          <a:bodyPr wrap="square" lIns="143981" tIns="251908" rIns="143981" bIns="359870" rtlCol="0">
            <a:spAutoFit/>
          </a:bodyPr>
          <a:lstStyle/>
          <a:p>
            <a:pPr algn="ctr" defTabSz="914126">
              <a:buClr>
                <a:srgbClr val="000000"/>
              </a:buClr>
            </a:pPr>
            <a:r>
              <a:rPr lang="en-US" sz="1600" b="1" kern="0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Work-based Learning</a:t>
            </a:r>
          </a:p>
          <a:p>
            <a:pPr lvl="0" algn="ctr"/>
            <a:endParaRPr lang="en-US" sz="1400" dirty="0"/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l working life practice</a:t>
            </a: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satile work tasks according to the competence requirements </a:t>
            </a: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idance and Feedback from the company mentor</a:t>
            </a: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914126">
              <a:buClr>
                <a:srgbClr val="000000"/>
              </a:buClr>
            </a:pPr>
            <a:r>
              <a:rPr lang="en-US" sz="14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Open Sans" panose="020B0606030504020204" pitchFamily="34" charset="0"/>
                <a:cs typeface="Arial"/>
                <a:sym typeface="Arial"/>
              </a:rPr>
              <a:t>Assessment of competence demonstrated through work tasks</a:t>
            </a:r>
          </a:p>
          <a:p>
            <a:pPr algn="ctr" defTabSz="914126">
              <a:buClr>
                <a:srgbClr val="000000"/>
              </a:buClr>
            </a:pPr>
            <a:endParaRPr lang="en-US" sz="1600" kern="0" dirty="0">
              <a:solidFill>
                <a:srgbClr val="0F6FC6"/>
              </a:solidFill>
              <a:latin typeface="Open Sans" panose="020B0606030504020204" pitchFamily="34" charset="0"/>
              <a:cs typeface="Arial"/>
              <a:sym typeface="Arial"/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C0563F74-41E9-2149-A080-074B15297BC1}"/>
              </a:ext>
            </a:extLst>
          </p:cNvPr>
          <p:cNvSpPr txBox="1"/>
          <p:nvPr/>
        </p:nvSpPr>
        <p:spPr>
          <a:xfrm>
            <a:off x="9017087" y="2341902"/>
            <a:ext cx="2568416" cy="4156723"/>
          </a:xfrm>
          <a:prstGeom prst="rect">
            <a:avLst/>
          </a:prstGeom>
          <a:solidFill>
            <a:schemeClr val="bg1"/>
          </a:solidFill>
          <a:effectLst>
            <a:outerShdw blurRad="586246" dist="146000" dir="5400000" sx="98000" sy="98000" algn="t" rotWithShape="0">
              <a:prstClr val="black">
                <a:alpha val="22000"/>
              </a:prstClr>
            </a:outerShdw>
          </a:effectLst>
        </p:spPr>
        <p:txBody>
          <a:bodyPr wrap="square" lIns="143981" tIns="251908" rIns="143981" bIns="359870" rtlCol="0">
            <a:spAutoFit/>
          </a:bodyPr>
          <a:lstStyle/>
          <a:p>
            <a:pPr algn="ctr" defTabSz="914126">
              <a:buClr>
                <a:srgbClr val="000000"/>
              </a:buClr>
            </a:pPr>
            <a:r>
              <a:rPr lang="en-US" sz="1600" b="1" kern="0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Final Competence Assessment</a:t>
            </a:r>
          </a:p>
          <a:p>
            <a:pPr algn="ctr" defTabSz="914126">
              <a:buClr>
                <a:srgbClr val="000000"/>
              </a:buClr>
            </a:pPr>
            <a:endParaRPr lang="en-US" sz="1600" kern="0" dirty="0">
              <a:solidFill>
                <a:prstClr val="black">
                  <a:lumMod val="75000"/>
                  <a:lumOff val="25000"/>
                </a:prstClr>
              </a:solidFill>
              <a:latin typeface="Open Sans" panose="020B0606030504020204" pitchFamily="34" charset="0"/>
              <a:cs typeface="Arial"/>
              <a:sym typeface="Arial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mary of all recognized competence</a:t>
            </a: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in focus on competence demonstrated through w</a:t>
            </a:r>
            <a:r>
              <a:rPr lang="en-US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k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asks</a:t>
            </a: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 demonstrations, practical exams, theoretic exams may be used to complete the assessment data </a:t>
            </a: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7" name="Title 1">
            <a:extLst>
              <a:ext uri="{FF2B5EF4-FFF2-40B4-BE49-F238E27FC236}">
                <a16:creationId xmlns:a16="http://schemas.microsoft.com/office/drawing/2014/main" id="{D76C1090-269E-CE4F-86F1-AF5F67041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1765" y="414198"/>
            <a:ext cx="10240955" cy="49841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600" dirty="0"/>
              <a:t>THE VET LEARNING AND ASSESSMENT PROCESS </a:t>
            </a:r>
            <a:br>
              <a:rPr lang="en-US" sz="2600" dirty="0"/>
            </a:br>
            <a:r>
              <a:rPr lang="en-US" sz="2600" dirty="0"/>
              <a:t>BUILDS ON NATIONAL QUALIFICATION REQUIREMENTS AND DIVERSE LEARNING ENVIRONMENTS</a:t>
            </a:r>
          </a:p>
        </p:txBody>
      </p:sp>
      <p:sp>
        <p:nvSpPr>
          <p:cNvPr id="60" name="Slide Number Placeholder 5">
            <a:extLst>
              <a:ext uri="{FF2B5EF4-FFF2-40B4-BE49-F238E27FC236}">
                <a16:creationId xmlns:a16="http://schemas.microsoft.com/office/drawing/2014/main" id="{BE0E331C-7449-0F41-8FEF-568E4172AF37}"/>
              </a:ext>
            </a:extLst>
          </p:cNvPr>
          <p:cNvSpPr txBox="1">
            <a:spLocks/>
          </p:cNvSpPr>
          <p:nvPr/>
        </p:nvSpPr>
        <p:spPr>
          <a:xfrm>
            <a:off x="9213080" y="6455192"/>
            <a:ext cx="2741851" cy="365077"/>
          </a:xfrm>
          <a:prstGeom prst="rect">
            <a:avLst/>
          </a:prstGeom>
        </p:spPr>
        <p:txBody>
          <a:bodyPr/>
          <a:lstStyle>
            <a:defPPr>
              <a:defRPr lang="en-FI"/>
            </a:defPPr>
            <a:lvl1pPr marL="0" algn="r" defTabSz="914400" rtl="0" eaLnBrk="1" latinLnBrk="0" hangingPunct="1">
              <a:defRPr sz="1400" b="1" i="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000000"/>
              </a:buClr>
            </a:pPr>
            <a:endParaRPr lang="en-US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E448FEA-6A1A-654A-BF78-5F1C4E40D9A3}"/>
              </a:ext>
            </a:extLst>
          </p:cNvPr>
          <p:cNvSpPr txBox="1"/>
          <p:nvPr/>
        </p:nvSpPr>
        <p:spPr>
          <a:xfrm>
            <a:off x="659343" y="2343935"/>
            <a:ext cx="2568416" cy="4125949"/>
          </a:xfrm>
          <a:prstGeom prst="rect">
            <a:avLst/>
          </a:prstGeom>
          <a:solidFill>
            <a:schemeClr val="bg1"/>
          </a:solidFill>
          <a:effectLst>
            <a:outerShdw blurRad="586246" dist="146000" dir="5400000" sx="98000" sy="98000" algn="t" rotWithShape="0">
              <a:prstClr val="black">
                <a:alpha val="22000"/>
              </a:prstClr>
            </a:outerShdw>
          </a:effectLst>
        </p:spPr>
        <p:txBody>
          <a:bodyPr wrap="square" lIns="143981" tIns="251908" rIns="143981" bIns="359870" rtlCol="0">
            <a:spAutoFit/>
          </a:bodyPr>
          <a:lstStyle/>
          <a:p>
            <a:pPr algn="ctr" defTabSz="914126">
              <a:buClr>
                <a:srgbClr val="000000"/>
              </a:buClr>
            </a:pPr>
            <a:r>
              <a:rPr lang="en-US" sz="1600" b="1" kern="0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Classroom</a:t>
            </a:r>
          </a:p>
          <a:p>
            <a:pPr algn="ctr" defTabSz="914126">
              <a:buClr>
                <a:srgbClr val="000000"/>
              </a:buClr>
            </a:pPr>
            <a:endParaRPr lang="en-US" sz="1600" b="1" kern="0" dirty="0">
              <a:solidFill>
                <a:srgbClr val="003580"/>
              </a:solidFill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  <a:sym typeface="Arial"/>
            </a:endParaRPr>
          </a:p>
          <a:p>
            <a:pPr lvl="0" algn="ctr"/>
            <a:b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oretical principles and knowledge, core learning skills</a:t>
            </a:r>
            <a:b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tential theoretical exams to ensure readiness for work-based learning and  assessment</a:t>
            </a: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5E452365-98B3-B44B-B0D4-B9C69C746503}"/>
              </a:ext>
            </a:extLst>
          </p:cNvPr>
          <p:cNvSpPr txBox="1"/>
          <p:nvPr/>
        </p:nvSpPr>
        <p:spPr>
          <a:xfrm>
            <a:off x="3447029" y="2344376"/>
            <a:ext cx="2568416" cy="3998109"/>
          </a:xfrm>
          <a:prstGeom prst="rect">
            <a:avLst/>
          </a:prstGeom>
          <a:solidFill>
            <a:schemeClr val="bg1"/>
          </a:solidFill>
          <a:effectLst>
            <a:outerShdw blurRad="586246" dist="146000" dir="5400000" sx="98000" sy="98000" algn="t" rotWithShape="0">
              <a:prstClr val="black">
                <a:alpha val="22000"/>
              </a:prstClr>
            </a:outerShdw>
          </a:effectLst>
        </p:spPr>
        <p:txBody>
          <a:bodyPr wrap="square" lIns="143981" tIns="251908" rIns="143981" bIns="179935" rtlCol="0">
            <a:spAutoFit/>
          </a:bodyPr>
          <a:lstStyle/>
          <a:p>
            <a:pPr algn="ctr" defTabSz="914126">
              <a:buClr>
                <a:srgbClr val="000000"/>
              </a:buClr>
            </a:pPr>
            <a:r>
              <a:rPr lang="en-US" sz="1600" b="1" kern="0" dirty="0">
                <a:solidFill>
                  <a:srgbClr val="0035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chool Labs / Simulations</a:t>
            </a:r>
          </a:p>
          <a:p>
            <a:pPr algn="ctr" defTabSz="914126">
              <a:buClr>
                <a:srgbClr val="000000"/>
              </a:buClr>
            </a:pPr>
            <a:endParaRPr lang="en-US" sz="1450" kern="0" dirty="0">
              <a:solidFill>
                <a:prstClr val="black">
                  <a:lumMod val="75000"/>
                  <a:lumOff val="25000"/>
                </a:prstClr>
              </a:solidFill>
              <a:latin typeface="Open Sans" panose="020B0606030504020204" pitchFamily="34" charset="0"/>
              <a:cs typeface="Arial"/>
              <a:sym typeface="Arial"/>
            </a:endParaRP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st contact to practice</a:t>
            </a:r>
          </a:p>
          <a:p>
            <a:pPr lvl="0"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a safe learning environment</a:t>
            </a:r>
            <a:b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idance and feedback from the </a:t>
            </a:r>
            <a:r>
              <a:rPr lang="en-GB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GB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achers</a:t>
            </a:r>
            <a:endParaRPr lang="en-GB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914126">
              <a:buClr>
                <a:srgbClr val="000000"/>
              </a:buClr>
            </a:pPr>
            <a:r>
              <a:rPr lang="en-US" sz="145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Open Sans" panose="020B0606030504020204" pitchFamily="34" charset="0"/>
                <a:cs typeface="Arial"/>
                <a:sym typeface="Arial"/>
              </a:rPr>
              <a:t>Assessment of competence development</a:t>
            </a:r>
          </a:p>
          <a:p>
            <a:pPr algn="ctr" defTabSz="914126">
              <a:buClr>
                <a:srgbClr val="000000"/>
              </a:buClr>
            </a:pPr>
            <a:endParaRPr lang="en-US" sz="1450" kern="0" dirty="0">
              <a:solidFill>
                <a:prstClr val="black">
                  <a:lumMod val="75000"/>
                  <a:lumOff val="25000"/>
                </a:prstClr>
              </a:solidFill>
              <a:latin typeface="Open Sans" panose="020B0606030504020204" pitchFamily="34" charset="0"/>
              <a:cs typeface="Arial"/>
              <a:sym typeface="Arial"/>
            </a:endParaRPr>
          </a:p>
          <a:p>
            <a:pPr algn="ctr" defTabSz="914126">
              <a:buClr>
                <a:srgbClr val="000000"/>
              </a:buClr>
            </a:pPr>
            <a:endParaRPr lang="en-US" sz="1450" kern="0" dirty="0">
              <a:solidFill>
                <a:prstClr val="black">
                  <a:lumMod val="75000"/>
                  <a:lumOff val="25000"/>
                </a:prstClr>
              </a:solidFill>
              <a:latin typeface="Open Sans" panose="020B0606030504020204" pitchFamily="34" charset="0"/>
              <a:cs typeface="Arial"/>
              <a:sym typeface="Arial"/>
            </a:endParaRPr>
          </a:p>
          <a:p>
            <a:pPr algn="ctr" defTabSz="914126">
              <a:buClr>
                <a:srgbClr val="000000"/>
              </a:buClr>
            </a:pPr>
            <a:endParaRPr lang="en-US" sz="1450" kern="0" dirty="0">
              <a:solidFill>
                <a:prstClr val="black">
                  <a:lumMod val="75000"/>
                  <a:lumOff val="25000"/>
                </a:prstClr>
              </a:solidFill>
              <a:latin typeface="Open Sans" panose="020B0606030504020204" pitchFamily="34" charset="0"/>
              <a:cs typeface="Arial"/>
              <a:sym typeface="Arial"/>
            </a:endParaRPr>
          </a:p>
          <a:p>
            <a:pPr algn="ctr" defTabSz="914126">
              <a:buClr>
                <a:srgbClr val="000000"/>
              </a:buClr>
            </a:pPr>
            <a:endParaRPr lang="en-US" sz="1450" kern="0" dirty="0">
              <a:solidFill>
                <a:prstClr val="black">
                  <a:lumMod val="75000"/>
                  <a:lumOff val="25000"/>
                </a:prstClr>
              </a:solidFill>
              <a:latin typeface="Open Sans" panose="020B0606030504020204" pitchFamily="34" charset="0"/>
              <a:cs typeface="Arial"/>
              <a:sym typeface="Arial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D6EF021C-E66D-C542-B456-0FBF497303B4}"/>
              </a:ext>
            </a:extLst>
          </p:cNvPr>
          <p:cNvSpPr/>
          <p:nvPr/>
        </p:nvSpPr>
        <p:spPr>
          <a:xfrm>
            <a:off x="4407" y="6294936"/>
            <a:ext cx="12186005" cy="54602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buClr>
                <a:srgbClr val="000000"/>
              </a:buClr>
            </a:pPr>
            <a:endParaRPr lang="en-FI" sz="1400" kern="0">
              <a:solidFill>
                <a:prstClr val="white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240" name="Picture 239">
            <a:extLst>
              <a:ext uri="{FF2B5EF4-FFF2-40B4-BE49-F238E27FC236}">
                <a16:creationId xmlns:a16="http://schemas.microsoft.com/office/drawing/2014/main" id="{31A1EF19-E29A-1B40-B7A7-6567D000C0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428" y="6421045"/>
            <a:ext cx="692950" cy="293811"/>
          </a:xfrm>
          <a:prstGeom prst="rect">
            <a:avLst/>
          </a:prstGeom>
        </p:spPr>
      </p:pic>
      <p:sp>
        <p:nvSpPr>
          <p:cNvPr id="138" name="Oval 137">
            <a:extLst>
              <a:ext uri="{FF2B5EF4-FFF2-40B4-BE49-F238E27FC236}">
                <a16:creationId xmlns:a16="http://schemas.microsoft.com/office/drawing/2014/main" id="{914A9C29-0297-4D48-9042-14B1C410EC40}"/>
              </a:ext>
            </a:extLst>
          </p:cNvPr>
          <p:cNvSpPr/>
          <p:nvPr/>
        </p:nvSpPr>
        <p:spPr bwMode="auto">
          <a:xfrm>
            <a:off x="6996315" y="1545962"/>
            <a:ext cx="1059316" cy="10342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CD07DE42-D68D-AC48-8CFB-8A40454A859C}"/>
              </a:ext>
            </a:extLst>
          </p:cNvPr>
          <p:cNvSpPr>
            <a:spLocks noChangeAspect="1"/>
          </p:cNvSpPr>
          <p:nvPr/>
        </p:nvSpPr>
        <p:spPr bwMode="auto">
          <a:xfrm>
            <a:off x="7093014" y="1623322"/>
            <a:ext cx="861047" cy="861047"/>
          </a:xfrm>
          <a:prstGeom prst="ellipse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11" name="Graphic 34">
            <a:extLst>
              <a:ext uri="{FF2B5EF4-FFF2-40B4-BE49-F238E27FC236}">
                <a16:creationId xmlns:a16="http://schemas.microsoft.com/office/drawing/2014/main" id="{F05E0FE2-87EF-3B4E-879D-5F7162AD0D25}"/>
              </a:ext>
            </a:extLst>
          </p:cNvPr>
          <p:cNvGrpSpPr>
            <a:grpSpLocks noChangeAspect="1"/>
          </p:cNvGrpSpPr>
          <p:nvPr/>
        </p:nvGrpSpPr>
        <p:grpSpPr>
          <a:xfrm>
            <a:off x="7325836" y="1739720"/>
            <a:ext cx="487808" cy="487807"/>
            <a:chOff x="1319212" y="176212"/>
            <a:chExt cx="6505575" cy="6505575"/>
          </a:xfrm>
          <a:solidFill>
            <a:schemeClr val="bg1"/>
          </a:solidFill>
        </p:grpSpPr>
        <p:sp>
          <p:nvSpPr>
            <p:cNvPr id="212" name="Freeform: Shape 288">
              <a:extLst>
                <a:ext uri="{FF2B5EF4-FFF2-40B4-BE49-F238E27FC236}">
                  <a16:creationId xmlns:a16="http://schemas.microsoft.com/office/drawing/2014/main" id="{EF5C8F55-C889-3842-B73C-B71CFDFD3618}"/>
                </a:ext>
              </a:extLst>
            </p:cNvPr>
            <p:cNvSpPr/>
            <p:nvPr/>
          </p:nvSpPr>
          <p:spPr>
            <a:xfrm>
              <a:off x="3258956" y="3002503"/>
              <a:ext cx="1120334" cy="914846"/>
            </a:xfrm>
            <a:custGeom>
              <a:avLst/>
              <a:gdLst>
                <a:gd name="connsiteX0" fmla="*/ 361244 w 1120333"/>
                <a:gd name="connsiteY0" fmla="*/ 927197 h 914846"/>
                <a:gd name="connsiteX1" fmla="*/ 0 w 1120333"/>
                <a:gd name="connsiteY1" fmla="*/ 566658 h 914846"/>
                <a:gd name="connsiteX2" fmla="*/ 144026 w 1120333"/>
                <a:gd name="connsiteY2" fmla="*/ 422824 h 914846"/>
                <a:gd name="connsiteX3" fmla="*/ 359016 w 1120333"/>
                <a:gd name="connsiteY3" fmla="*/ 637343 h 914846"/>
                <a:gd name="connsiteX4" fmla="*/ 977364 w 1120333"/>
                <a:gd name="connsiteY4" fmla="*/ 0 h 914846"/>
                <a:gd name="connsiteX5" fmla="*/ 1123720 w 1120333"/>
                <a:gd name="connsiteY5" fmla="*/ 141445 h 914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0333" h="914846">
                  <a:moveTo>
                    <a:pt x="361244" y="927197"/>
                  </a:moveTo>
                  <a:lnTo>
                    <a:pt x="0" y="566658"/>
                  </a:lnTo>
                  <a:lnTo>
                    <a:pt x="144026" y="422824"/>
                  </a:lnTo>
                  <a:lnTo>
                    <a:pt x="359016" y="637343"/>
                  </a:lnTo>
                  <a:lnTo>
                    <a:pt x="977364" y="0"/>
                  </a:lnTo>
                  <a:lnTo>
                    <a:pt x="1123720" y="141445"/>
                  </a:lnTo>
                  <a:close/>
                </a:path>
              </a:pathLst>
            </a:custGeom>
            <a:grpFill/>
            <a:ln w="127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3" name="Freeform: Shape 289">
              <a:extLst>
                <a:ext uri="{FF2B5EF4-FFF2-40B4-BE49-F238E27FC236}">
                  <a16:creationId xmlns:a16="http://schemas.microsoft.com/office/drawing/2014/main" id="{62328791-611F-4A48-B847-8AA4D76D3435}"/>
                </a:ext>
              </a:extLst>
            </p:cNvPr>
            <p:cNvSpPr/>
            <p:nvPr/>
          </p:nvSpPr>
          <p:spPr>
            <a:xfrm>
              <a:off x="2547760" y="5055393"/>
              <a:ext cx="1629577" cy="203299"/>
            </a:xfrm>
            <a:custGeom>
              <a:avLst/>
              <a:gdLst>
                <a:gd name="connsiteX0" fmla="*/ 0 w 1629576"/>
                <a:gd name="connsiteY0" fmla="*/ 0 h 203299"/>
                <a:gd name="connsiteX1" fmla="*/ 1629577 w 1629576"/>
                <a:gd name="connsiteY1" fmla="*/ 0 h 203299"/>
                <a:gd name="connsiteX2" fmla="*/ 1629577 w 1629576"/>
                <a:gd name="connsiteY2" fmla="*/ 203299 h 203299"/>
                <a:gd name="connsiteX3" fmla="*/ 0 w 1629576"/>
                <a:gd name="connsiteY3" fmla="*/ 203299 h 20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9576" h="203299">
                  <a:moveTo>
                    <a:pt x="0" y="0"/>
                  </a:moveTo>
                  <a:lnTo>
                    <a:pt x="1629577" y="0"/>
                  </a:lnTo>
                  <a:lnTo>
                    <a:pt x="1629577" y="203299"/>
                  </a:lnTo>
                  <a:lnTo>
                    <a:pt x="0" y="203299"/>
                  </a:lnTo>
                  <a:close/>
                </a:path>
              </a:pathLst>
            </a:custGeom>
            <a:grpFill/>
            <a:ln w="127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4" name="Freeform: Shape 290">
              <a:extLst>
                <a:ext uri="{FF2B5EF4-FFF2-40B4-BE49-F238E27FC236}">
                  <a16:creationId xmlns:a16="http://schemas.microsoft.com/office/drawing/2014/main" id="{3190422B-E9DF-8E4E-B4D0-40ECECBE31B3}"/>
                </a:ext>
              </a:extLst>
            </p:cNvPr>
            <p:cNvSpPr/>
            <p:nvPr/>
          </p:nvSpPr>
          <p:spPr>
            <a:xfrm>
              <a:off x="2547760" y="5461992"/>
              <a:ext cx="1629577" cy="203299"/>
            </a:xfrm>
            <a:custGeom>
              <a:avLst/>
              <a:gdLst>
                <a:gd name="connsiteX0" fmla="*/ 0 w 1629576"/>
                <a:gd name="connsiteY0" fmla="*/ 0 h 203299"/>
                <a:gd name="connsiteX1" fmla="*/ 1629577 w 1629576"/>
                <a:gd name="connsiteY1" fmla="*/ 0 h 203299"/>
                <a:gd name="connsiteX2" fmla="*/ 1629577 w 1629576"/>
                <a:gd name="connsiteY2" fmla="*/ 203299 h 203299"/>
                <a:gd name="connsiteX3" fmla="*/ 0 w 1629576"/>
                <a:gd name="connsiteY3" fmla="*/ 203299 h 20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9576" h="203299">
                  <a:moveTo>
                    <a:pt x="0" y="0"/>
                  </a:moveTo>
                  <a:lnTo>
                    <a:pt x="1629577" y="0"/>
                  </a:lnTo>
                  <a:lnTo>
                    <a:pt x="1629577" y="203299"/>
                  </a:lnTo>
                  <a:lnTo>
                    <a:pt x="0" y="203299"/>
                  </a:lnTo>
                  <a:close/>
                </a:path>
              </a:pathLst>
            </a:custGeom>
            <a:grpFill/>
            <a:ln w="127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5" name="Freeform: Shape 291">
              <a:extLst>
                <a:ext uri="{FF2B5EF4-FFF2-40B4-BE49-F238E27FC236}">
                  <a16:creationId xmlns:a16="http://schemas.microsoft.com/office/drawing/2014/main" id="{2DD27FCC-4687-0B4C-8959-3E514BA0A106}"/>
                </a:ext>
              </a:extLst>
            </p:cNvPr>
            <p:cNvSpPr/>
            <p:nvPr/>
          </p:nvSpPr>
          <p:spPr>
            <a:xfrm>
              <a:off x="1325578" y="176212"/>
              <a:ext cx="5703518" cy="6505575"/>
            </a:xfrm>
            <a:custGeom>
              <a:avLst/>
              <a:gdLst>
                <a:gd name="connsiteX0" fmla="*/ 4888730 w 5703517"/>
                <a:gd name="connsiteY0" fmla="*/ 4943411 h 6505575"/>
                <a:gd name="connsiteX1" fmla="*/ 4888730 w 5703517"/>
                <a:gd name="connsiteY1" fmla="*/ 609898 h 6505575"/>
                <a:gd name="connsiteX2" fmla="*/ 3055456 w 5703517"/>
                <a:gd name="connsiteY2" fmla="*/ 609898 h 6505575"/>
                <a:gd name="connsiteX3" fmla="*/ 2444365 w 5703517"/>
                <a:gd name="connsiteY3" fmla="*/ 0 h 6505575"/>
                <a:gd name="connsiteX4" fmla="*/ 1833274 w 5703517"/>
                <a:gd name="connsiteY4" fmla="*/ 609898 h 6505575"/>
                <a:gd name="connsiteX5" fmla="*/ 0 w 5703517"/>
                <a:gd name="connsiteY5" fmla="*/ 609898 h 6505575"/>
                <a:gd name="connsiteX6" fmla="*/ 0 w 5703517"/>
                <a:gd name="connsiteY6" fmla="*/ 6505575 h 6505575"/>
                <a:gd name="connsiteX7" fmla="*/ 4888730 w 5703517"/>
                <a:gd name="connsiteY7" fmla="*/ 6505575 h 6505575"/>
                <a:gd name="connsiteX8" fmla="*/ 4888730 w 5703517"/>
                <a:gd name="connsiteY8" fmla="*/ 6380851 h 6505575"/>
                <a:gd name="connsiteX9" fmla="*/ 4995251 w 5703517"/>
                <a:gd name="connsiteY9" fmla="*/ 6487164 h 6505575"/>
                <a:gd name="connsiteX10" fmla="*/ 5715460 w 5703517"/>
                <a:gd name="connsiteY10" fmla="*/ 5768514 h 6505575"/>
                <a:gd name="connsiteX11" fmla="*/ 3666547 w 5703517"/>
                <a:gd name="connsiteY11" fmla="*/ 813197 h 6505575"/>
                <a:gd name="connsiteX12" fmla="*/ 4685033 w 5703517"/>
                <a:gd name="connsiteY12" fmla="*/ 813197 h 6505575"/>
                <a:gd name="connsiteX13" fmla="*/ 4685033 w 5703517"/>
                <a:gd name="connsiteY13" fmla="*/ 4740112 h 6505575"/>
                <a:gd name="connsiteX14" fmla="*/ 4481336 w 5703517"/>
                <a:gd name="connsiteY14" fmla="*/ 4536813 h 6505575"/>
                <a:gd name="connsiteX15" fmla="*/ 4481336 w 5703517"/>
                <a:gd name="connsiteY15" fmla="*/ 1016496 h 6505575"/>
                <a:gd name="connsiteX16" fmla="*/ 3666547 w 5703517"/>
                <a:gd name="connsiteY16" fmla="*/ 1016496 h 6505575"/>
                <a:gd name="connsiteX17" fmla="*/ 1833274 w 5703517"/>
                <a:gd name="connsiteY17" fmla="*/ 813197 h 6505575"/>
                <a:gd name="connsiteX18" fmla="*/ 2036971 w 5703517"/>
                <a:gd name="connsiteY18" fmla="*/ 813197 h 6505575"/>
                <a:gd name="connsiteX19" fmla="*/ 2036971 w 5703517"/>
                <a:gd name="connsiteY19" fmla="*/ 609898 h 6505575"/>
                <a:gd name="connsiteX20" fmla="*/ 2444365 w 5703517"/>
                <a:gd name="connsiteY20" fmla="*/ 203299 h 6505575"/>
                <a:gd name="connsiteX21" fmla="*/ 2851759 w 5703517"/>
                <a:gd name="connsiteY21" fmla="*/ 609898 h 6505575"/>
                <a:gd name="connsiteX22" fmla="*/ 2851759 w 5703517"/>
                <a:gd name="connsiteY22" fmla="*/ 813197 h 6505575"/>
                <a:gd name="connsiteX23" fmla="*/ 3055456 w 5703517"/>
                <a:gd name="connsiteY23" fmla="*/ 813197 h 6505575"/>
                <a:gd name="connsiteX24" fmla="*/ 3055456 w 5703517"/>
                <a:gd name="connsiteY24" fmla="*/ 1016496 h 6505575"/>
                <a:gd name="connsiteX25" fmla="*/ 1833274 w 5703517"/>
                <a:gd name="connsiteY25" fmla="*/ 1016496 h 6505575"/>
                <a:gd name="connsiteX26" fmla="*/ 1425880 w 5703517"/>
                <a:gd name="connsiteY26" fmla="*/ 813197 h 6505575"/>
                <a:gd name="connsiteX27" fmla="*/ 1629577 w 5703517"/>
                <a:gd name="connsiteY27" fmla="*/ 813197 h 6505575"/>
                <a:gd name="connsiteX28" fmla="*/ 1629577 w 5703517"/>
                <a:gd name="connsiteY28" fmla="*/ 1219795 h 6505575"/>
                <a:gd name="connsiteX29" fmla="*/ 3259153 w 5703517"/>
                <a:gd name="connsiteY29" fmla="*/ 1219795 h 6505575"/>
                <a:gd name="connsiteX30" fmla="*/ 3259153 w 5703517"/>
                <a:gd name="connsiteY30" fmla="*/ 813197 h 6505575"/>
                <a:gd name="connsiteX31" fmla="*/ 3462850 w 5703517"/>
                <a:gd name="connsiteY31" fmla="*/ 813197 h 6505575"/>
                <a:gd name="connsiteX32" fmla="*/ 3462850 w 5703517"/>
                <a:gd name="connsiteY32" fmla="*/ 1321445 h 6505575"/>
                <a:gd name="connsiteX33" fmla="*/ 3361002 w 5703517"/>
                <a:gd name="connsiteY33" fmla="*/ 1423095 h 6505575"/>
                <a:gd name="connsiteX34" fmla="*/ 1527728 w 5703517"/>
                <a:gd name="connsiteY34" fmla="*/ 1423095 h 6505575"/>
                <a:gd name="connsiteX35" fmla="*/ 1425880 w 5703517"/>
                <a:gd name="connsiteY35" fmla="*/ 1321445 h 6505575"/>
                <a:gd name="connsiteX36" fmla="*/ 1527728 w 5703517"/>
                <a:gd name="connsiteY36" fmla="*/ 1626394 h 6505575"/>
                <a:gd name="connsiteX37" fmla="*/ 3361002 w 5703517"/>
                <a:gd name="connsiteY37" fmla="*/ 1626394 h 6505575"/>
                <a:gd name="connsiteX38" fmla="*/ 3666547 w 5703517"/>
                <a:gd name="connsiteY38" fmla="*/ 1321445 h 6505575"/>
                <a:gd name="connsiteX39" fmla="*/ 3666547 w 5703517"/>
                <a:gd name="connsiteY39" fmla="*/ 1219795 h 6505575"/>
                <a:gd name="connsiteX40" fmla="*/ 4277639 w 5703517"/>
                <a:gd name="connsiteY40" fmla="*/ 1219795 h 6505575"/>
                <a:gd name="connsiteX41" fmla="*/ 4277639 w 5703517"/>
                <a:gd name="connsiteY41" fmla="*/ 4333514 h 6505575"/>
                <a:gd name="connsiteX42" fmla="*/ 4131079 w 5703517"/>
                <a:gd name="connsiteY42" fmla="*/ 4187138 h 6505575"/>
                <a:gd name="connsiteX43" fmla="*/ 3986963 w 5703517"/>
                <a:gd name="connsiteY43" fmla="*/ 4330973 h 6505575"/>
                <a:gd name="connsiteX44" fmla="*/ 3675701 w 5703517"/>
                <a:gd name="connsiteY44" fmla="*/ 4020318 h 6505575"/>
                <a:gd name="connsiteX45" fmla="*/ 3368615 w 5703517"/>
                <a:gd name="connsiteY45" fmla="*/ 2144172 h 6505575"/>
                <a:gd name="connsiteX46" fmla="*/ 1466606 w 5703517"/>
                <a:gd name="connsiteY46" fmla="*/ 2246762 h 6505575"/>
                <a:gd name="connsiteX47" fmla="*/ 1363816 w 5703517"/>
                <a:gd name="connsiteY47" fmla="*/ 4145004 h 6505575"/>
                <a:gd name="connsiteX48" fmla="*/ 3243685 w 5703517"/>
                <a:gd name="connsiteY48" fmla="*/ 4451542 h 6505575"/>
                <a:gd name="connsiteX49" fmla="*/ 3554501 w 5703517"/>
                <a:gd name="connsiteY49" fmla="*/ 4762195 h 6505575"/>
                <a:gd name="connsiteX50" fmla="*/ 3410933 w 5703517"/>
                <a:gd name="connsiteY50" fmla="*/ 4906030 h 6505575"/>
                <a:gd name="connsiteX51" fmla="*/ 4277639 w 5703517"/>
                <a:gd name="connsiteY51" fmla="*/ 5771043 h 6505575"/>
                <a:gd name="connsiteX52" fmla="*/ 4277639 w 5703517"/>
                <a:gd name="connsiteY52" fmla="*/ 5895678 h 6505575"/>
                <a:gd name="connsiteX53" fmla="*/ 611091 w 5703517"/>
                <a:gd name="connsiteY53" fmla="*/ 5895678 h 6505575"/>
                <a:gd name="connsiteX54" fmla="*/ 611091 w 5703517"/>
                <a:gd name="connsiteY54" fmla="*/ 1219795 h 6505575"/>
                <a:gd name="connsiteX55" fmla="*/ 1222182 w 5703517"/>
                <a:gd name="connsiteY55" fmla="*/ 1219795 h 6505575"/>
                <a:gd name="connsiteX56" fmla="*/ 1222182 w 5703517"/>
                <a:gd name="connsiteY56" fmla="*/ 1321445 h 6505575"/>
                <a:gd name="connsiteX57" fmla="*/ 1527728 w 5703517"/>
                <a:gd name="connsiteY57" fmla="*/ 1626394 h 6505575"/>
                <a:gd name="connsiteX58" fmla="*/ 3842936 w 5703517"/>
                <a:gd name="connsiteY58" fmla="*/ 4474718 h 6505575"/>
                <a:gd name="connsiteX59" fmla="*/ 3698922 w 5703517"/>
                <a:gd name="connsiteY59" fmla="*/ 4618450 h 6505575"/>
                <a:gd name="connsiteX60" fmla="*/ 3266066 w 5703517"/>
                <a:gd name="connsiteY60" fmla="*/ 4186439 h 6505575"/>
                <a:gd name="connsiteX61" fmla="*/ 3195600 w 5703517"/>
                <a:gd name="connsiteY61" fmla="*/ 4237862 h 6505575"/>
                <a:gd name="connsiteX62" fmla="*/ 1610429 w 5703517"/>
                <a:gd name="connsiteY62" fmla="*/ 4115272 h 6505575"/>
                <a:gd name="connsiteX63" fmla="*/ 1291503 w 5703517"/>
                <a:gd name="connsiteY63" fmla="*/ 2935781 h 6505575"/>
                <a:gd name="connsiteX64" fmla="*/ 2157127 w 5703517"/>
                <a:gd name="connsiteY64" fmla="*/ 2071911 h 6505575"/>
                <a:gd name="connsiteX65" fmla="*/ 3338926 w 5703517"/>
                <a:gd name="connsiteY65" fmla="*/ 2390303 h 6505575"/>
                <a:gd name="connsiteX66" fmla="*/ 3461704 w 5703517"/>
                <a:gd name="connsiteY66" fmla="*/ 3972378 h 6505575"/>
                <a:gd name="connsiteX67" fmla="*/ 3410080 w 5703517"/>
                <a:gd name="connsiteY67" fmla="*/ 4042707 h 6505575"/>
                <a:gd name="connsiteX68" fmla="*/ 4685033 w 5703517"/>
                <a:gd name="connsiteY68" fmla="*/ 6302276 h 6505575"/>
                <a:gd name="connsiteX69" fmla="*/ 203697 w 5703517"/>
                <a:gd name="connsiteY69" fmla="*/ 6302276 h 6505575"/>
                <a:gd name="connsiteX70" fmla="*/ 203697 w 5703517"/>
                <a:gd name="connsiteY70" fmla="*/ 813197 h 6505575"/>
                <a:gd name="connsiteX71" fmla="*/ 1222182 w 5703517"/>
                <a:gd name="connsiteY71" fmla="*/ 813197 h 6505575"/>
                <a:gd name="connsiteX72" fmla="*/ 1222182 w 5703517"/>
                <a:gd name="connsiteY72" fmla="*/ 1016496 h 6505575"/>
                <a:gd name="connsiteX73" fmla="*/ 407394 w 5703517"/>
                <a:gd name="connsiteY73" fmla="*/ 1016496 h 6505575"/>
                <a:gd name="connsiteX74" fmla="*/ 407394 w 5703517"/>
                <a:gd name="connsiteY74" fmla="*/ 6098977 h 6505575"/>
                <a:gd name="connsiteX75" fmla="*/ 4481336 w 5703517"/>
                <a:gd name="connsiteY75" fmla="*/ 6098977 h 6505575"/>
                <a:gd name="connsiteX76" fmla="*/ 4481336 w 5703517"/>
                <a:gd name="connsiteY76" fmla="*/ 5974342 h 6505575"/>
                <a:gd name="connsiteX77" fmla="*/ 4685033 w 5703517"/>
                <a:gd name="connsiteY77" fmla="*/ 6177641 h 6505575"/>
                <a:gd name="connsiteX78" fmla="*/ 3698922 w 5703517"/>
                <a:gd name="connsiteY78" fmla="*/ 4906030 h 6505575"/>
                <a:gd name="connsiteX79" fmla="*/ 4131079 w 5703517"/>
                <a:gd name="connsiteY79" fmla="*/ 4474718 h 6505575"/>
                <a:gd name="connsiteX80" fmla="*/ 5427419 w 5703517"/>
                <a:gd name="connsiteY80" fmla="*/ 5768514 h 6505575"/>
                <a:gd name="connsiteX81" fmla="*/ 4995251 w 5703517"/>
                <a:gd name="connsiteY81" fmla="*/ 6199737 h 650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5703517" h="6505575">
                  <a:moveTo>
                    <a:pt x="4888730" y="4943411"/>
                  </a:moveTo>
                  <a:lnTo>
                    <a:pt x="4888730" y="609898"/>
                  </a:lnTo>
                  <a:lnTo>
                    <a:pt x="3055456" y="609898"/>
                  </a:lnTo>
                  <a:cubicBezTo>
                    <a:pt x="3055456" y="273084"/>
                    <a:pt x="2781840" y="0"/>
                    <a:pt x="2444365" y="0"/>
                  </a:cubicBezTo>
                  <a:cubicBezTo>
                    <a:pt x="2106890" y="0"/>
                    <a:pt x="1833274" y="273084"/>
                    <a:pt x="1833274" y="609898"/>
                  </a:cubicBezTo>
                  <a:lnTo>
                    <a:pt x="0" y="609898"/>
                  </a:lnTo>
                  <a:lnTo>
                    <a:pt x="0" y="6505575"/>
                  </a:lnTo>
                  <a:lnTo>
                    <a:pt x="4888730" y="6505575"/>
                  </a:lnTo>
                  <a:lnTo>
                    <a:pt x="4888730" y="6380851"/>
                  </a:lnTo>
                  <a:lnTo>
                    <a:pt x="4995251" y="6487164"/>
                  </a:lnTo>
                  <a:lnTo>
                    <a:pt x="5715460" y="5768514"/>
                  </a:lnTo>
                  <a:close/>
                  <a:moveTo>
                    <a:pt x="3666547" y="813197"/>
                  </a:moveTo>
                  <a:lnTo>
                    <a:pt x="4685033" y="813197"/>
                  </a:lnTo>
                  <a:lnTo>
                    <a:pt x="4685033" y="4740112"/>
                  </a:lnTo>
                  <a:lnTo>
                    <a:pt x="4481336" y="4536813"/>
                  </a:lnTo>
                  <a:lnTo>
                    <a:pt x="4481336" y="1016496"/>
                  </a:lnTo>
                  <a:lnTo>
                    <a:pt x="3666547" y="1016496"/>
                  </a:lnTo>
                  <a:close/>
                  <a:moveTo>
                    <a:pt x="1833274" y="813197"/>
                  </a:moveTo>
                  <a:lnTo>
                    <a:pt x="2036971" y="813197"/>
                  </a:lnTo>
                  <a:lnTo>
                    <a:pt x="2036971" y="609898"/>
                  </a:lnTo>
                  <a:cubicBezTo>
                    <a:pt x="2036971" y="385355"/>
                    <a:pt x="2219382" y="203299"/>
                    <a:pt x="2444365" y="203299"/>
                  </a:cubicBezTo>
                  <a:cubicBezTo>
                    <a:pt x="2669348" y="203299"/>
                    <a:pt x="2851759" y="385355"/>
                    <a:pt x="2851759" y="609898"/>
                  </a:cubicBezTo>
                  <a:lnTo>
                    <a:pt x="2851759" y="813197"/>
                  </a:lnTo>
                  <a:lnTo>
                    <a:pt x="3055456" y="813197"/>
                  </a:lnTo>
                  <a:lnTo>
                    <a:pt x="3055456" y="1016496"/>
                  </a:lnTo>
                  <a:lnTo>
                    <a:pt x="1833274" y="1016496"/>
                  </a:lnTo>
                  <a:close/>
                  <a:moveTo>
                    <a:pt x="1425880" y="813197"/>
                  </a:moveTo>
                  <a:lnTo>
                    <a:pt x="1629577" y="813197"/>
                  </a:lnTo>
                  <a:lnTo>
                    <a:pt x="1629577" y="1219795"/>
                  </a:lnTo>
                  <a:lnTo>
                    <a:pt x="3259153" y="1219795"/>
                  </a:lnTo>
                  <a:lnTo>
                    <a:pt x="3259153" y="813197"/>
                  </a:lnTo>
                  <a:lnTo>
                    <a:pt x="3462850" y="813197"/>
                  </a:lnTo>
                  <a:lnTo>
                    <a:pt x="3462850" y="1321445"/>
                  </a:lnTo>
                  <a:cubicBezTo>
                    <a:pt x="3462850" y="1377581"/>
                    <a:pt x="3417248" y="1423095"/>
                    <a:pt x="3361002" y="1423095"/>
                  </a:cubicBezTo>
                  <a:lnTo>
                    <a:pt x="1527728" y="1423095"/>
                  </a:lnTo>
                  <a:cubicBezTo>
                    <a:pt x="1471482" y="1423095"/>
                    <a:pt x="1425880" y="1377581"/>
                    <a:pt x="1425880" y="1321445"/>
                  </a:cubicBezTo>
                  <a:close/>
                  <a:moveTo>
                    <a:pt x="1527728" y="1626394"/>
                  </a:moveTo>
                  <a:lnTo>
                    <a:pt x="3361002" y="1626394"/>
                  </a:lnTo>
                  <a:cubicBezTo>
                    <a:pt x="3529739" y="1626394"/>
                    <a:pt x="3666547" y="1489853"/>
                    <a:pt x="3666547" y="1321445"/>
                  </a:cubicBezTo>
                  <a:lnTo>
                    <a:pt x="3666547" y="1219795"/>
                  </a:lnTo>
                  <a:lnTo>
                    <a:pt x="4277639" y="1219795"/>
                  </a:lnTo>
                  <a:lnTo>
                    <a:pt x="4277639" y="4333514"/>
                  </a:lnTo>
                  <a:lnTo>
                    <a:pt x="4131079" y="4187138"/>
                  </a:lnTo>
                  <a:lnTo>
                    <a:pt x="3986963" y="4330973"/>
                  </a:lnTo>
                  <a:lnTo>
                    <a:pt x="3675701" y="4020318"/>
                  </a:lnTo>
                  <a:cubicBezTo>
                    <a:pt x="4068276" y="3408388"/>
                    <a:pt x="3935835" y="2599613"/>
                    <a:pt x="3368615" y="2144172"/>
                  </a:cubicBezTo>
                  <a:cubicBezTo>
                    <a:pt x="2801331" y="1688731"/>
                    <a:pt x="1981425" y="1732961"/>
                    <a:pt x="1466606" y="2246762"/>
                  </a:cubicBezTo>
                  <a:cubicBezTo>
                    <a:pt x="951796" y="2760524"/>
                    <a:pt x="907537" y="3578880"/>
                    <a:pt x="1363816" y="4145004"/>
                  </a:cubicBezTo>
                  <a:cubicBezTo>
                    <a:pt x="1820148" y="4711168"/>
                    <a:pt x="2630557" y="4843299"/>
                    <a:pt x="3243685" y="4451542"/>
                  </a:cubicBezTo>
                  <a:lnTo>
                    <a:pt x="3554501" y="4762195"/>
                  </a:lnTo>
                  <a:lnTo>
                    <a:pt x="3410933" y="4906030"/>
                  </a:lnTo>
                  <a:lnTo>
                    <a:pt x="4277639" y="5771043"/>
                  </a:lnTo>
                  <a:lnTo>
                    <a:pt x="4277639" y="5895678"/>
                  </a:lnTo>
                  <a:lnTo>
                    <a:pt x="611091" y="5895678"/>
                  </a:lnTo>
                  <a:lnTo>
                    <a:pt x="611091" y="1219795"/>
                  </a:lnTo>
                  <a:lnTo>
                    <a:pt x="1222182" y="1219795"/>
                  </a:lnTo>
                  <a:lnTo>
                    <a:pt x="1222182" y="1321445"/>
                  </a:lnTo>
                  <a:cubicBezTo>
                    <a:pt x="1222182" y="1489853"/>
                    <a:pt x="1358991" y="1626394"/>
                    <a:pt x="1527728" y="1626394"/>
                  </a:cubicBezTo>
                  <a:close/>
                  <a:moveTo>
                    <a:pt x="3842936" y="4474718"/>
                  </a:moveTo>
                  <a:lnTo>
                    <a:pt x="3698922" y="4618450"/>
                  </a:lnTo>
                  <a:lnTo>
                    <a:pt x="3266066" y="4186439"/>
                  </a:lnTo>
                  <a:lnTo>
                    <a:pt x="3195600" y="4237862"/>
                  </a:lnTo>
                  <a:cubicBezTo>
                    <a:pt x="2708242" y="4589277"/>
                    <a:pt x="2037773" y="4537410"/>
                    <a:pt x="1610429" y="4115272"/>
                  </a:cubicBezTo>
                  <a:cubicBezTo>
                    <a:pt x="1300313" y="3807388"/>
                    <a:pt x="1178668" y="3357563"/>
                    <a:pt x="1291503" y="2935781"/>
                  </a:cubicBezTo>
                  <a:cubicBezTo>
                    <a:pt x="1404351" y="2513948"/>
                    <a:pt x="1734455" y="2184526"/>
                    <a:pt x="2157127" y="2071911"/>
                  </a:cubicBezTo>
                  <a:cubicBezTo>
                    <a:pt x="2579734" y="1959334"/>
                    <a:pt x="3030440" y="2080742"/>
                    <a:pt x="3338926" y="2390303"/>
                  </a:cubicBezTo>
                  <a:cubicBezTo>
                    <a:pt x="3761737" y="2816812"/>
                    <a:pt x="3813655" y="3485921"/>
                    <a:pt x="3461704" y="3972378"/>
                  </a:cubicBezTo>
                  <a:lnTo>
                    <a:pt x="3410080" y="4042707"/>
                  </a:lnTo>
                  <a:close/>
                  <a:moveTo>
                    <a:pt x="4685033" y="6302276"/>
                  </a:moveTo>
                  <a:lnTo>
                    <a:pt x="203697" y="6302276"/>
                  </a:lnTo>
                  <a:lnTo>
                    <a:pt x="203697" y="813197"/>
                  </a:lnTo>
                  <a:lnTo>
                    <a:pt x="1222182" y="813197"/>
                  </a:lnTo>
                  <a:lnTo>
                    <a:pt x="1222182" y="1016496"/>
                  </a:lnTo>
                  <a:lnTo>
                    <a:pt x="407394" y="1016496"/>
                  </a:lnTo>
                  <a:lnTo>
                    <a:pt x="407394" y="6098977"/>
                  </a:lnTo>
                  <a:lnTo>
                    <a:pt x="4481336" y="6098977"/>
                  </a:lnTo>
                  <a:lnTo>
                    <a:pt x="4481336" y="5974342"/>
                  </a:lnTo>
                  <a:lnTo>
                    <a:pt x="4685033" y="6177641"/>
                  </a:lnTo>
                  <a:close/>
                  <a:moveTo>
                    <a:pt x="3698922" y="4906030"/>
                  </a:moveTo>
                  <a:lnTo>
                    <a:pt x="4131079" y="4474718"/>
                  </a:lnTo>
                  <a:lnTo>
                    <a:pt x="5427419" y="5768514"/>
                  </a:lnTo>
                  <a:lnTo>
                    <a:pt x="4995251" y="6199737"/>
                  </a:lnTo>
                  <a:close/>
                </a:path>
              </a:pathLst>
            </a:custGeom>
            <a:grpFill/>
            <a:ln w="127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6" name="Freeform: Shape 292">
              <a:extLst>
                <a:ext uri="{FF2B5EF4-FFF2-40B4-BE49-F238E27FC236}">
                  <a16:creationId xmlns:a16="http://schemas.microsoft.com/office/drawing/2014/main" id="{DFBC2E12-2501-8543-B225-5966708F963C}"/>
                </a:ext>
              </a:extLst>
            </p:cNvPr>
            <p:cNvSpPr/>
            <p:nvPr/>
          </p:nvSpPr>
          <p:spPr>
            <a:xfrm>
              <a:off x="2779363" y="2411575"/>
              <a:ext cx="2036971" cy="2032992"/>
            </a:xfrm>
            <a:custGeom>
              <a:avLst/>
              <a:gdLst>
                <a:gd name="connsiteX0" fmla="*/ 1741012 w 2036970"/>
                <a:gd name="connsiteY0" fmla="*/ 298686 h 2032992"/>
                <a:gd name="connsiteX1" fmla="*/ 453735 w 2036970"/>
                <a:gd name="connsiteY1" fmla="*/ 171077 h 2032992"/>
                <a:gd name="connsiteX2" fmla="*/ 77520 w 2036970"/>
                <a:gd name="connsiteY2" fmla="*/ 1406298 h 2032992"/>
                <a:gd name="connsiteX3" fmla="*/ 1218147 w 2036970"/>
                <a:gd name="connsiteY3" fmla="*/ 2015306 h 2032992"/>
                <a:gd name="connsiteX4" fmla="*/ 2038906 w 2036970"/>
                <a:gd name="connsiteY4" fmla="*/ 1017425 h 2032992"/>
                <a:gd name="connsiteX5" fmla="*/ 1741012 w 2036970"/>
                <a:gd name="connsiteY5" fmla="*/ 298686 h 2032992"/>
                <a:gd name="connsiteX6" fmla="*/ 1596998 w 2036970"/>
                <a:gd name="connsiteY6" fmla="*/ 1592482 h 2032992"/>
                <a:gd name="connsiteX7" fmla="*/ 566825 w 2036970"/>
                <a:gd name="connsiteY7" fmla="*/ 1694869 h 2032992"/>
                <a:gd name="connsiteX8" fmla="*/ 265507 w 2036970"/>
                <a:gd name="connsiteY8" fmla="*/ 706326 h 2032992"/>
                <a:gd name="connsiteX9" fmla="*/ 1178311 w 2036970"/>
                <a:gd name="connsiteY9" fmla="*/ 218814 h 2032992"/>
                <a:gd name="connsiteX10" fmla="*/ 1835209 w 2036970"/>
                <a:gd name="connsiteY10" fmla="*/ 1017425 h 2032992"/>
                <a:gd name="connsiteX11" fmla="*/ 1596998 w 2036970"/>
                <a:gd name="connsiteY11" fmla="*/ 1592482 h 2032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36970" h="2032992">
                  <a:moveTo>
                    <a:pt x="1741012" y="298686"/>
                  </a:moveTo>
                  <a:cubicBezTo>
                    <a:pt x="1397375" y="-44928"/>
                    <a:pt x="858392" y="-98332"/>
                    <a:pt x="453735" y="171077"/>
                  </a:cubicBezTo>
                  <a:cubicBezTo>
                    <a:pt x="49129" y="440487"/>
                    <a:pt x="-108418" y="957718"/>
                    <a:pt x="77520" y="1406298"/>
                  </a:cubicBezTo>
                  <a:cubicBezTo>
                    <a:pt x="263470" y="1854891"/>
                    <a:pt x="741025" y="2109904"/>
                    <a:pt x="1218147" y="2015306"/>
                  </a:cubicBezTo>
                  <a:cubicBezTo>
                    <a:pt x="1695218" y="1920709"/>
                    <a:pt x="2038906" y="1502891"/>
                    <a:pt x="2038906" y="1017425"/>
                  </a:cubicBezTo>
                  <a:cubicBezTo>
                    <a:pt x="2038906" y="747913"/>
                    <a:pt x="1931736" y="489419"/>
                    <a:pt x="1741012" y="298686"/>
                  </a:cubicBezTo>
                  <a:close/>
                  <a:moveTo>
                    <a:pt x="1596998" y="1592482"/>
                  </a:moveTo>
                  <a:cubicBezTo>
                    <a:pt x="1322032" y="1867546"/>
                    <a:pt x="890666" y="1910429"/>
                    <a:pt x="566825" y="1694869"/>
                  </a:cubicBezTo>
                  <a:cubicBezTo>
                    <a:pt x="242922" y="1479320"/>
                    <a:pt x="116757" y="1065365"/>
                    <a:pt x="265507" y="706326"/>
                  </a:cubicBezTo>
                  <a:cubicBezTo>
                    <a:pt x="414244" y="347274"/>
                    <a:pt x="796481" y="143124"/>
                    <a:pt x="1178311" y="218814"/>
                  </a:cubicBezTo>
                  <a:cubicBezTo>
                    <a:pt x="1560142" y="294505"/>
                    <a:pt x="1835209" y="628894"/>
                    <a:pt x="1835209" y="1017425"/>
                  </a:cubicBezTo>
                  <a:cubicBezTo>
                    <a:pt x="1835209" y="1233036"/>
                    <a:pt x="1749567" y="1439804"/>
                    <a:pt x="1596998" y="1592482"/>
                  </a:cubicBezTo>
                  <a:close/>
                </a:path>
              </a:pathLst>
            </a:custGeom>
            <a:grpFill/>
            <a:ln w="127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30" name="Oval 129">
            <a:extLst>
              <a:ext uri="{FF2B5EF4-FFF2-40B4-BE49-F238E27FC236}">
                <a16:creationId xmlns:a16="http://schemas.microsoft.com/office/drawing/2014/main" id="{F269BD9C-F5A6-C54F-9702-973F1486EA9E}"/>
              </a:ext>
            </a:extLst>
          </p:cNvPr>
          <p:cNvSpPr/>
          <p:nvPr/>
        </p:nvSpPr>
        <p:spPr bwMode="auto">
          <a:xfrm>
            <a:off x="9772398" y="1565241"/>
            <a:ext cx="982536" cy="100609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5D223350-EFFA-EA41-BBB6-BD1ECC69B285}"/>
              </a:ext>
            </a:extLst>
          </p:cNvPr>
          <p:cNvSpPr>
            <a:spLocks noChangeAspect="1"/>
          </p:cNvSpPr>
          <p:nvPr/>
        </p:nvSpPr>
        <p:spPr bwMode="auto">
          <a:xfrm>
            <a:off x="9833143" y="1643784"/>
            <a:ext cx="861047" cy="861047"/>
          </a:xfrm>
          <a:prstGeom prst="ellipse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17" name="Graphic 26">
            <a:extLst>
              <a:ext uri="{FF2B5EF4-FFF2-40B4-BE49-F238E27FC236}">
                <a16:creationId xmlns:a16="http://schemas.microsoft.com/office/drawing/2014/main" id="{86BD4049-29D6-1345-A98E-B07EC8DA46CC}"/>
              </a:ext>
            </a:extLst>
          </p:cNvPr>
          <p:cNvGrpSpPr>
            <a:grpSpLocks noChangeAspect="1"/>
          </p:cNvGrpSpPr>
          <p:nvPr/>
        </p:nvGrpSpPr>
        <p:grpSpPr>
          <a:xfrm>
            <a:off x="9976626" y="1713782"/>
            <a:ext cx="574079" cy="574079"/>
            <a:chOff x="1423987" y="280987"/>
            <a:chExt cx="6296025" cy="6296025"/>
          </a:xfrm>
          <a:solidFill>
            <a:schemeClr val="bg1"/>
          </a:solidFill>
        </p:grpSpPr>
        <p:sp>
          <p:nvSpPr>
            <p:cNvPr id="218" name="Freeform: Shape 103">
              <a:extLst>
                <a:ext uri="{FF2B5EF4-FFF2-40B4-BE49-F238E27FC236}">
                  <a16:creationId xmlns:a16="http://schemas.microsoft.com/office/drawing/2014/main" id="{240096CA-0276-AC43-9AC2-45FBD8E89B22}"/>
                </a:ext>
              </a:extLst>
            </p:cNvPr>
            <p:cNvSpPr/>
            <p:nvPr/>
          </p:nvSpPr>
          <p:spPr>
            <a:xfrm>
              <a:off x="1423987" y="280987"/>
              <a:ext cx="6296025" cy="6296025"/>
            </a:xfrm>
            <a:custGeom>
              <a:avLst/>
              <a:gdLst>
                <a:gd name="connsiteX0" fmla="*/ 6092928 w 6296025"/>
                <a:gd name="connsiteY0" fmla="*/ 1015488 h 6296025"/>
                <a:gd name="connsiteX1" fmla="*/ 5483635 w 6296025"/>
                <a:gd name="connsiteY1" fmla="*/ 1015488 h 6296025"/>
                <a:gd name="connsiteX2" fmla="*/ 5483635 w 6296025"/>
                <a:gd name="connsiteY2" fmla="*/ 507744 h 6296025"/>
                <a:gd name="connsiteX3" fmla="*/ 4975891 w 6296025"/>
                <a:gd name="connsiteY3" fmla="*/ 0 h 6296025"/>
                <a:gd name="connsiteX4" fmla="*/ 4468147 w 6296025"/>
                <a:gd name="connsiteY4" fmla="*/ 507744 h 6296025"/>
                <a:gd name="connsiteX5" fmla="*/ 4468147 w 6296025"/>
                <a:gd name="connsiteY5" fmla="*/ 1015488 h 6296025"/>
                <a:gd name="connsiteX6" fmla="*/ 203098 w 6296025"/>
                <a:gd name="connsiteY6" fmla="*/ 1015488 h 6296025"/>
                <a:gd name="connsiteX7" fmla="*/ 0 w 6296025"/>
                <a:gd name="connsiteY7" fmla="*/ 1218586 h 6296025"/>
                <a:gd name="connsiteX8" fmla="*/ 0 w 6296025"/>
                <a:gd name="connsiteY8" fmla="*/ 1421683 h 6296025"/>
                <a:gd name="connsiteX9" fmla="*/ 203098 w 6296025"/>
                <a:gd name="connsiteY9" fmla="*/ 1624781 h 6296025"/>
                <a:gd name="connsiteX10" fmla="*/ 203098 w 6296025"/>
                <a:gd name="connsiteY10" fmla="*/ 4874342 h 6296025"/>
                <a:gd name="connsiteX11" fmla="*/ 2741817 w 6296025"/>
                <a:gd name="connsiteY11" fmla="*/ 4874342 h 6296025"/>
                <a:gd name="connsiteX12" fmla="*/ 2741817 w 6296025"/>
                <a:gd name="connsiteY12" fmla="*/ 5509619 h 6296025"/>
                <a:gd name="connsiteX13" fmla="*/ 1726329 w 6296025"/>
                <a:gd name="connsiteY13" fmla="*/ 5814265 h 6296025"/>
                <a:gd name="connsiteX14" fmla="*/ 1726329 w 6296025"/>
                <a:gd name="connsiteY14" fmla="*/ 6296025 h 6296025"/>
                <a:gd name="connsiteX15" fmla="*/ 4569696 w 6296025"/>
                <a:gd name="connsiteY15" fmla="*/ 6296025 h 6296025"/>
                <a:gd name="connsiteX16" fmla="*/ 4569696 w 6296025"/>
                <a:gd name="connsiteY16" fmla="*/ 5814265 h 6296025"/>
                <a:gd name="connsiteX17" fmla="*/ 3554208 w 6296025"/>
                <a:gd name="connsiteY17" fmla="*/ 5509619 h 6296025"/>
                <a:gd name="connsiteX18" fmla="*/ 3554208 w 6296025"/>
                <a:gd name="connsiteY18" fmla="*/ 4874342 h 6296025"/>
                <a:gd name="connsiteX19" fmla="*/ 6092928 w 6296025"/>
                <a:gd name="connsiteY19" fmla="*/ 4874342 h 6296025"/>
                <a:gd name="connsiteX20" fmla="*/ 6092928 w 6296025"/>
                <a:gd name="connsiteY20" fmla="*/ 1624781 h 6296025"/>
                <a:gd name="connsiteX21" fmla="*/ 6296025 w 6296025"/>
                <a:gd name="connsiteY21" fmla="*/ 1421683 h 6296025"/>
                <a:gd name="connsiteX22" fmla="*/ 6296025 w 6296025"/>
                <a:gd name="connsiteY22" fmla="*/ 1218586 h 6296025"/>
                <a:gd name="connsiteX23" fmla="*/ 6092928 w 6296025"/>
                <a:gd name="connsiteY23" fmla="*/ 1015488 h 6296025"/>
                <a:gd name="connsiteX24" fmla="*/ 5217767 w 6296025"/>
                <a:gd name="connsiteY24" fmla="*/ 2843366 h 6296025"/>
                <a:gd name="connsiteX25" fmla="*/ 4975891 w 6296025"/>
                <a:gd name="connsiteY25" fmla="*/ 3327157 h 6296025"/>
                <a:gd name="connsiteX26" fmla="*/ 4734015 w 6296025"/>
                <a:gd name="connsiteY26" fmla="*/ 2843366 h 6296025"/>
                <a:gd name="connsiteX27" fmla="*/ 4975891 w 6296025"/>
                <a:gd name="connsiteY27" fmla="*/ 203098 h 6296025"/>
                <a:gd name="connsiteX28" fmla="*/ 5280537 w 6296025"/>
                <a:gd name="connsiteY28" fmla="*/ 507744 h 6296025"/>
                <a:gd name="connsiteX29" fmla="*/ 5280537 w 6296025"/>
                <a:gd name="connsiteY29" fmla="*/ 812390 h 6296025"/>
                <a:gd name="connsiteX30" fmla="*/ 4671245 w 6296025"/>
                <a:gd name="connsiteY30" fmla="*/ 812390 h 6296025"/>
                <a:gd name="connsiteX31" fmla="*/ 4671245 w 6296025"/>
                <a:gd name="connsiteY31" fmla="*/ 507744 h 6296025"/>
                <a:gd name="connsiteX32" fmla="*/ 4975891 w 6296025"/>
                <a:gd name="connsiteY32" fmla="*/ 203098 h 6296025"/>
                <a:gd name="connsiteX33" fmla="*/ 203098 w 6296025"/>
                <a:gd name="connsiteY33" fmla="*/ 1218586 h 6296025"/>
                <a:gd name="connsiteX34" fmla="*/ 4671245 w 6296025"/>
                <a:gd name="connsiteY34" fmla="*/ 1218586 h 6296025"/>
                <a:gd name="connsiteX35" fmla="*/ 4671245 w 6296025"/>
                <a:gd name="connsiteY35" fmla="*/ 1015488 h 6296025"/>
                <a:gd name="connsiteX36" fmla="*/ 4874342 w 6296025"/>
                <a:gd name="connsiteY36" fmla="*/ 1015488 h 6296025"/>
                <a:gd name="connsiteX37" fmla="*/ 4874342 w 6296025"/>
                <a:gd name="connsiteY37" fmla="*/ 2234074 h 6296025"/>
                <a:gd name="connsiteX38" fmla="*/ 5077440 w 6296025"/>
                <a:gd name="connsiteY38" fmla="*/ 2234074 h 6296025"/>
                <a:gd name="connsiteX39" fmla="*/ 5077440 w 6296025"/>
                <a:gd name="connsiteY39" fmla="*/ 1015488 h 6296025"/>
                <a:gd name="connsiteX40" fmla="*/ 5280537 w 6296025"/>
                <a:gd name="connsiteY40" fmla="*/ 1015488 h 6296025"/>
                <a:gd name="connsiteX41" fmla="*/ 5280537 w 6296025"/>
                <a:gd name="connsiteY41" fmla="*/ 2640269 h 6296025"/>
                <a:gd name="connsiteX42" fmla="*/ 5077440 w 6296025"/>
                <a:gd name="connsiteY42" fmla="*/ 2640269 h 6296025"/>
                <a:gd name="connsiteX43" fmla="*/ 5077440 w 6296025"/>
                <a:gd name="connsiteY43" fmla="*/ 2437171 h 6296025"/>
                <a:gd name="connsiteX44" fmla="*/ 4874342 w 6296025"/>
                <a:gd name="connsiteY44" fmla="*/ 2437171 h 6296025"/>
                <a:gd name="connsiteX45" fmla="*/ 4874342 w 6296025"/>
                <a:gd name="connsiteY45" fmla="*/ 2640269 h 6296025"/>
                <a:gd name="connsiteX46" fmla="*/ 4671245 w 6296025"/>
                <a:gd name="connsiteY46" fmla="*/ 2640269 h 6296025"/>
                <a:gd name="connsiteX47" fmla="*/ 4671245 w 6296025"/>
                <a:gd name="connsiteY47" fmla="*/ 1421683 h 6296025"/>
                <a:gd name="connsiteX48" fmla="*/ 203098 w 6296025"/>
                <a:gd name="connsiteY48" fmla="*/ 1421683 h 6296025"/>
                <a:gd name="connsiteX49" fmla="*/ 4366598 w 6296025"/>
                <a:gd name="connsiteY49" fmla="*/ 5965395 h 6296025"/>
                <a:gd name="connsiteX50" fmla="*/ 4366598 w 6296025"/>
                <a:gd name="connsiteY50" fmla="*/ 6092928 h 6296025"/>
                <a:gd name="connsiteX51" fmla="*/ 1929427 w 6296025"/>
                <a:gd name="connsiteY51" fmla="*/ 6092928 h 6296025"/>
                <a:gd name="connsiteX52" fmla="*/ 1929427 w 6296025"/>
                <a:gd name="connsiteY52" fmla="*/ 5965395 h 6296025"/>
                <a:gd name="connsiteX53" fmla="*/ 2741817 w 6296025"/>
                <a:gd name="connsiteY53" fmla="*/ 5721691 h 6296025"/>
                <a:gd name="connsiteX54" fmla="*/ 2741817 w 6296025"/>
                <a:gd name="connsiteY54" fmla="*/ 5889830 h 6296025"/>
                <a:gd name="connsiteX55" fmla="*/ 3554208 w 6296025"/>
                <a:gd name="connsiteY55" fmla="*/ 5889830 h 6296025"/>
                <a:gd name="connsiteX56" fmla="*/ 3554208 w 6296025"/>
                <a:gd name="connsiteY56" fmla="*/ 5721691 h 6296025"/>
                <a:gd name="connsiteX57" fmla="*/ 3351110 w 6296025"/>
                <a:gd name="connsiteY57" fmla="*/ 5686733 h 6296025"/>
                <a:gd name="connsiteX58" fmla="*/ 2944915 w 6296025"/>
                <a:gd name="connsiteY58" fmla="*/ 5686733 h 6296025"/>
                <a:gd name="connsiteX59" fmla="*/ 2944915 w 6296025"/>
                <a:gd name="connsiteY59" fmla="*/ 4874342 h 6296025"/>
                <a:gd name="connsiteX60" fmla="*/ 3351110 w 6296025"/>
                <a:gd name="connsiteY60" fmla="*/ 4874342 h 6296025"/>
                <a:gd name="connsiteX61" fmla="*/ 5889830 w 6296025"/>
                <a:gd name="connsiteY61" fmla="*/ 4671245 h 6296025"/>
                <a:gd name="connsiteX62" fmla="*/ 406195 w 6296025"/>
                <a:gd name="connsiteY62" fmla="*/ 4671245 h 6296025"/>
                <a:gd name="connsiteX63" fmla="*/ 406195 w 6296025"/>
                <a:gd name="connsiteY63" fmla="*/ 1624781 h 6296025"/>
                <a:gd name="connsiteX64" fmla="*/ 4468147 w 6296025"/>
                <a:gd name="connsiteY64" fmla="*/ 1624781 h 6296025"/>
                <a:gd name="connsiteX65" fmla="*/ 4468147 w 6296025"/>
                <a:gd name="connsiteY65" fmla="*/ 2765770 h 6296025"/>
                <a:gd name="connsiteX66" fmla="*/ 4975891 w 6296025"/>
                <a:gd name="connsiteY66" fmla="*/ 3781258 h 6296025"/>
                <a:gd name="connsiteX67" fmla="*/ 5483635 w 6296025"/>
                <a:gd name="connsiteY67" fmla="*/ 2765770 h 6296025"/>
                <a:gd name="connsiteX68" fmla="*/ 5483635 w 6296025"/>
                <a:gd name="connsiteY68" fmla="*/ 1624781 h 6296025"/>
                <a:gd name="connsiteX69" fmla="*/ 5889830 w 6296025"/>
                <a:gd name="connsiteY69" fmla="*/ 1624781 h 6296025"/>
                <a:gd name="connsiteX70" fmla="*/ 6092928 w 6296025"/>
                <a:gd name="connsiteY70" fmla="*/ 1421683 h 6296025"/>
                <a:gd name="connsiteX71" fmla="*/ 5483635 w 6296025"/>
                <a:gd name="connsiteY71" fmla="*/ 1421683 h 6296025"/>
                <a:gd name="connsiteX72" fmla="*/ 5483635 w 6296025"/>
                <a:gd name="connsiteY72" fmla="*/ 1218586 h 6296025"/>
                <a:gd name="connsiteX73" fmla="*/ 6092928 w 6296025"/>
                <a:gd name="connsiteY73" fmla="*/ 1218586 h 629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296025" h="6296025">
                  <a:moveTo>
                    <a:pt x="6092928" y="1015488"/>
                  </a:moveTo>
                  <a:lnTo>
                    <a:pt x="5483635" y="1015488"/>
                  </a:lnTo>
                  <a:lnTo>
                    <a:pt x="5483635" y="507744"/>
                  </a:lnTo>
                  <a:cubicBezTo>
                    <a:pt x="5483635" y="227790"/>
                    <a:pt x="5255848" y="0"/>
                    <a:pt x="4975891" y="0"/>
                  </a:cubicBezTo>
                  <a:cubicBezTo>
                    <a:pt x="4695934" y="0"/>
                    <a:pt x="4468147" y="227790"/>
                    <a:pt x="4468147" y="507744"/>
                  </a:cubicBezTo>
                  <a:lnTo>
                    <a:pt x="4468147" y="1015488"/>
                  </a:lnTo>
                  <a:lnTo>
                    <a:pt x="203098" y="1015488"/>
                  </a:lnTo>
                  <a:cubicBezTo>
                    <a:pt x="91086" y="1015488"/>
                    <a:pt x="0" y="1106575"/>
                    <a:pt x="0" y="1218586"/>
                  </a:cubicBezTo>
                  <a:lnTo>
                    <a:pt x="0" y="1421683"/>
                  </a:lnTo>
                  <a:cubicBezTo>
                    <a:pt x="0" y="1533691"/>
                    <a:pt x="91086" y="1624781"/>
                    <a:pt x="203098" y="1624781"/>
                  </a:cubicBezTo>
                  <a:lnTo>
                    <a:pt x="203098" y="4874342"/>
                  </a:lnTo>
                  <a:lnTo>
                    <a:pt x="2741817" y="4874342"/>
                  </a:lnTo>
                  <a:lnTo>
                    <a:pt x="2741817" y="5509619"/>
                  </a:lnTo>
                  <a:lnTo>
                    <a:pt x="1726329" y="5814265"/>
                  </a:lnTo>
                  <a:lnTo>
                    <a:pt x="1726329" y="6296025"/>
                  </a:lnTo>
                  <a:lnTo>
                    <a:pt x="4569696" y="6296025"/>
                  </a:lnTo>
                  <a:lnTo>
                    <a:pt x="4569696" y="5814265"/>
                  </a:lnTo>
                  <a:lnTo>
                    <a:pt x="3554208" y="5509619"/>
                  </a:lnTo>
                  <a:lnTo>
                    <a:pt x="3554208" y="4874342"/>
                  </a:lnTo>
                  <a:lnTo>
                    <a:pt x="6092928" y="4874342"/>
                  </a:lnTo>
                  <a:lnTo>
                    <a:pt x="6092928" y="1624781"/>
                  </a:lnTo>
                  <a:cubicBezTo>
                    <a:pt x="6204936" y="1624781"/>
                    <a:pt x="6296025" y="1533691"/>
                    <a:pt x="6296025" y="1421683"/>
                  </a:cubicBezTo>
                  <a:lnTo>
                    <a:pt x="6296025" y="1218586"/>
                  </a:lnTo>
                  <a:cubicBezTo>
                    <a:pt x="6296025" y="1106575"/>
                    <a:pt x="6204936" y="1015488"/>
                    <a:pt x="6092928" y="1015488"/>
                  </a:cubicBezTo>
                  <a:close/>
                  <a:moveTo>
                    <a:pt x="5217767" y="2843366"/>
                  </a:moveTo>
                  <a:lnTo>
                    <a:pt x="4975891" y="3327157"/>
                  </a:lnTo>
                  <a:lnTo>
                    <a:pt x="4734015" y="2843366"/>
                  </a:lnTo>
                  <a:close/>
                  <a:moveTo>
                    <a:pt x="4975891" y="203098"/>
                  </a:moveTo>
                  <a:cubicBezTo>
                    <a:pt x="5143827" y="203098"/>
                    <a:pt x="5280537" y="339801"/>
                    <a:pt x="5280537" y="507744"/>
                  </a:cubicBezTo>
                  <a:lnTo>
                    <a:pt x="5280537" y="812390"/>
                  </a:lnTo>
                  <a:lnTo>
                    <a:pt x="4671245" y="812390"/>
                  </a:lnTo>
                  <a:lnTo>
                    <a:pt x="4671245" y="507744"/>
                  </a:lnTo>
                  <a:cubicBezTo>
                    <a:pt x="4671245" y="339801"/>
                    <a:pt x="4807955" y="203098"/>
                    <a:pt x="4975891" y="203098"/>
                  </a:cubicBezTo>
                  <a:close/>
                  <a:moveTo>
                    <a:pt x="203098" y="1218586"/>
                  </a:moveTo>
                  <a:lnTo>
                    <a:pt x="4671245" y="1218586"/>
                  </a:lnTo>
                  <a:lnTo>
                    <a:pt x="4671245" y="1015488"/>
                  </a:lnTo>
                  <a:lnTo>
                    <a:pt x="4874342" y="1015488"/>
                  </a:lnTo>
                  <a:lnTo>
                    <a:pt x="4874342" y="2234074"/>
                  </a:lnTo>
                  <a:lnTo>
                    <a:pt x="5077440" y="2234074"/>
                  </a:lnTo>
                  <a:lnTo>
                    <a:pt x="5077440" y="1015488"/>
                  </a:lnTo>
                  <a:lnTo>
                    <a:pt x="5280537" y="1015488"/>
                  </a:lnTo>
                  <a:lnTo>
                    <a:pt x="5280537" y="2640269"/>
                  </a:lnTo>
                  <a:lnTo>
                    <a:pt x="5077440" y="2640269"/>
                  </a:lnTo>
                  <a:lnTo>
                    <a:pt x="5077440" y="2437171"/>
                  </a:lnTo>
                  <a:lnTo>
                    <a:pt x="4874342" y="2437171"/>
                  </a:lnTo>
                  <a:lnTo>
                    <a:pt x="4874342" y="2640269"/>
                  </a:lnTo>
                  <a:lnTo>
                    <a:pt x="4671245" y="2640269"/>
                  </a:lnTo>
                  <a:lnTo>
                    <a:pt x="4671245" y="1421683"/>
                  </a:lnTo>
                  <a:lnTo>
                    <a:pt x="203098" y="1421683"/>
                  </a:lnTo>
                  <a:close/>
                  <a:moveTo>
                    <a:pt x="4366598" y="5965395"/>
                  </a:moveTo>
                  <a:lnTo>
                    <a:pt x="4366598" y="6092928"/>
                  </a:lnTo>
                  <a:lnTo>
                    <a:pt x="1929427" y="6092928"/>
                  </a:lnTo>
                  <a:lnTo>
                    <a:pt x="1929427" y="5965395"/>
                  </a:lnTo>
                  <a:lnTo>
                    <a:pt x="2741817" y="5721691"/>
                  </a:lnTo>
                  <a:lnTo>
                    <a:pt x="2741817" y="5889830"/>
                  </a:lnTo>
                  <a:lnTo>
                    <a:pt x="3554208" y="5889830"/>
                  </a:lnTo>
                  <a:lnTo>
                    <a:pt x="3554208" y="5721691"/>
                  </a:lnTo>
                  <a:close/>
                  <a:moveTo>
                    <a:pt x="3351110" y="5686733"/>
                  </a:moveTo>
                  <a:lnTo>
                    <a:pt x="2944915" y="5686733"/>
                  </a:lnTo>
                  <a:lnTo>
                    <a:pt x="2944915" y="4874342"/>
                  </a:lnTo>
                  <a:lnTo>
                    <a:pt x="3351110" y="4874342"/>
                  </a:lnTo>
                  <a:close/>
                  <a:moveTo>
                    <a:pt x="5889830" y="4671245"/>
                  </a:moveTo>
                  <a:lnTo>
                    <a:pt x="406195" y="4671245"/>
                  </a:lnTo>
                  <a:lnTo>
                    <a:pt x="406195" y="1624781"/>
                  </a:lnTo>
                  <a:lnTo>
                    <a:pt x="4468147" y="1624781"/>
                  </a:lnTo>
                  <a:lnTo>
                    <a:pt x="4468147" y="2765770"/>
                  </a:lnTo>
                  <a:lnTo>
                    <a:pt x="4975891" y="3781258"/>
                  </a:lnTo>
                  <a:lnTo>
                    <a:pt x="5483635" y="2765770"/>
                  </a:lnTo>
                  <a:lnTo>
                    <a:pt x="5483635" y="1624781"/>
                  </a:lnTo>
                  <a:lnTo>
                    <a:pt x="5889830" y="1624781"/>
                  </a:lnTo>
                  <a:close/>
                  <a:moveTo>
                    <a:pt x="6092928" y="1421683"/>
                  </a:moveTo>
                  <a:lnTo>
                    <a:pt x="5483635" y="1421683"/>
                  </a:lnTo>
                  <a:lnTo>
                    <a:pt x="5483635" y="1218586"/>
                  </a:lnTo>
                  <a:lnTo>
                    <a:pt x="6092928" y="1218586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9" name="Freeform: Shape 104">
              <a:extLst>
                <a:ext uri="{FF2B5EF4-FFF2-40B4-BE49-F238E27FC236}">
                  <a16:creationId xmlns:a16="http://schemas.microsoft.com/office/drawing/2014/main" id="{EC676EE9-0D91-9A4C-A721-D5407F08218E}"/>
                </a:ext>
              </a:extLst>
            </p:cNvPr>
            <p:cNvSpPr/>
            <p:nvPr/>
          </p:nvSpPr>
          <p:spPr>
            <a:xfrm>
              <a:off x="2021280" y="2108865"/>
              <a:ext cx="2754511" cy="2640269"/>
            </a:xfrm>
            <a:custGeom>
              <a:avLst/>
              <a:gdLst>
                <a:gd name="connsiteX0" fmla="*/ 2765812 w 2754510"/>
                <a:gd name="connsiteY0" fmla="*/ 1320134 h 2640268"/>
                <a:gd name="connsiteX1" fmla="*/ 2410392 w 2754510"/>
                <a:gd name="connsiteY1" fmla="*/ 609293 h 2640268"/>
                <a:gd name="connsiteX2" fmla="*/ 1598001 w 2754510"/>
                <a:gd name="connsiteY2" fmla="*/ 609293 h 2640268"/>
                <a:gd name="connsiteX3" fmla="*/ 1293355 w 2754510"/>
                <a:gd name="connsiteY3" fmla="*/ 0 h 2640268"/>
                <a:gd name="connsiteX4" fmla="*/ 355421 w 2754510"/>
                <a:gd name="connsiteY4" fmla="*/ 0 h 2640268"/>
                <a:gd name="connsiteX5" fmla="*/ 0 w 2754510"/>
                <a:gd name="connsiteY5" fmla="*/ 710842 h 2640268"/>
                <a:gd name="connsiteX6" fmla="*/ 304646 w 2754510"/>
                <a:gd name="connsiteY6" fmla="*/ 1320134 h 2640268"/>
                <a:gd name="connsiteX7" fmla="*/ 0 w 2754510"/>
                <a:gd name="connsiteY7" fmla="*/ 1929427 h 2640268"/>
                <a:gd name="connsiteX8" fmla="*/ 355421 w 2754510"/>
                <a:gd name="connsiteY8" fmla="*/ 2640269 h 2640268"/>
                <a:gd name="connsiteX9" fmla="*/ 1293355 w 2754510"/>
                <a:gd name="connsiteY9" fmla="*/ 2640269 h 2640268"/>
                <a:gd name="connsiteX10" fmla="*/ 1598001 w 2754510"/>
                <a:gd name="connsiteY10" fmla="*/ 2030976 h 2640268"/>
                <a:gd name="connsiteX11" fmla="*/ 2410392 w 2754510"/>
                <a:gd name="connsiteY11" fmla="*/ 2030976 h 2640268"/>
                <a:gd name="connsiteX12" fmla="*/ 480968 w 2754510"/>
                <a:gd name="connsiteY12" fmla="*/ 203098 h 2640268"/>
                <a:gd name="connsiteX13" fmla="*/ 1167815 w 2754510"/>
                <a:gd name="connsiteY13" fmla="*/ 203098 h 2640268"/>
                <a:gd name="connsiteX14" fmla="*/ 1421687 w 2754510"/>
                <a:gd name="connsiteY14" fmla="*/ 710842 h 2640268"/>
                <a:gd name="connsiteX15" fmla="*/ 1167815 w 2754510"/>
                <a:gd name="connsiteY15" fmla="*/ 1218586 h 2640268"/>
                <a:gd name="connsiteX16" fmla="*/ 480968 w 2754510"/>
                <a:gd name="connsiteY16" fmla="*/ 1218586 h 2640268"/>
                <a:gd name="connsiteX17" fmla="*/ 227096 w 2754510"/>
                <a:gd name="connsiteY17" fmla="*/ 710842 h 2640268"/>
                <a:gd name="connsiteX18" fmla="*/ 1167815 w 2754510"/>
                <a:gd name="connsiteY18" fmla="*/ 2437171 h 2640268"/>
                <a:gd name="connsiteX19" fmla="*/ 480968 w 2754510"/>
                <a:gd name="connsiteY19" fmla="*/ 2437171 h 2640268"/>
                <a:gd name="connsiteX20" fmla="*/ 227096 w 2754510"/>
                <a:gd name="connsiteY20" fmla="*/ 1929427 h 2640268"/>
                <a:gd name="connsiteX21" fmla="*/ 480968 w 2754510"/>
                <a:gd name="connsiteY21" fmla="*/ 1421683 h 2640268"/>
                <a:gd name="connsiteX22" fmla="*/ 1167815 w 2754510"/>
                <a:gd name="connsiteY22" fmla="*/ 1421683 h 2640268"/>
                <a:gd name="connsiteX23" fmla="*/ 1421687 w 2754510"/>
                <a:gd name="connsiteY23" fmla="*/ 1929427 h 2640268"/>
                <a:gd name="connsiteX24" fmla="*/ 1598001 w 2754510"/>
                <a:gd name="connsiteY24" fmla="*/ 1827878 h 2640268"/>
                <a:gd name="connsiteX25" fmla="*/ 1344129 w 2754510"/>
                <a:gd name="connsiteY25" fmla="*/ 1320134 h 2640268"/>
                <a:gd name="connsiteX26" fmla="*/ 1598001 w 2754510"/>
                <a:gd name="connsiteY26" fmla="*/ 812390 h 2640268"/>
                <a:gd name="connsiteX27" fmla="*/ 2284852 w 2754510"/>
                <a:gd name="connsiteY27" fmla="*/ 812390 h 2640268"/>
                <a:gd name="connsiteX28" fmla="*/ 2538724 w 2754510"/>
                <a:gd name="connsiteY28" fmla="*/ 1320134 h 2640268"/>
                <a:gd name="connsiteX29" fmla="*/ 2284852 w 2754510"/>
                <a:gd name="connsiteY29" fmla="*/ 1827878 h 2640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754510" h="2640268">
                  <a:moveTo>
                    <a:pt x="2765812" y="1320134"/>
                  </a:moveTo>
                  <a:lnTo>
                    <a:pt x="2410392" y="609293"/>
                  </a:lnTo>
                  <a:lnTo>
                    <a:pt x="1598001" y="609293"/>
                  </a:lnTo>
                  <a:lnTo>
                    <a:pt x="1293355" y="0"/>
                  </a:lnTo>
                  <a:lnTo>
                    <a:pt x="355421" y="0"/>
                  </a:lnTo>
                  <a:lnTo>
                    <a:pt x="0" y="710842"/>
                  </a:lnTo>
                  <a:lnTo>
                    <a:pt x="304646" y="1320134"/>
                  </a:lnTo>
                  <a:lnTo>
                    <a:pt x="0" y="1929427"/>
                  </a:lnTo>
                  <a:lnTo>
                    <a:pt x="355421" y="2640269"/>
                  </a:lnTo>
                  <a:lnTo>
                    <a:pt x="1293355" y="2640269"/>
                  </a:lnTo>
                  <a:lnTo>
                    <a:pt x="1598001" y="2030976"/>
                  </a:lnTo>
                  <a:lnTo>
                    <a:pt x="2410392" y="2030976"/>
                  </a:lnTo>
                  <a:close/>
                  <a:moveTo>
                    <a:pt x="480968" y="203098"/>
                  </a:moveTo>
                  <a:lnTo>
                    <a:pt x="1167815" y="203098"/>
                  </a:lnTo>
                  <a:lnTo>
                    <a:pt x="1421687" y="710842"/>
                  </a:lnTo>
                  <a:lnTo>
                    <a:pt x="1167815" y="1218586"/>
                  </a:lnTo>
                  <a:lnTo>
                    <a:pt x="480968" y="1218586"/>
                  </a:lnTo>
                  <a:lnTo>
                    <a:pt x="227096" y="710842"/>
                  </a:lnTo>
                  <a:close/>
                  <a:moveTo>
                    <a:pt x="1167815" y="2437171"/>
                  </a:moveTo>
                  <a:lnTo>
                    <a:pt x="480968" y="2437171"/>
                  </a:lnTo>
                  <a:lnTo>
                    <a:pt x="227096" y="1929427"/>
                  </a:lnTo>
                  <a:lnTo>
                    <a:pt x="480968" y="1421683"/>
                  </a:lnTo>
                  <a:lnTo>
                    <a:pt x="1167815" y="1421683"/>
                  </a:lnTo>
                  <a:lnTo>
                    <a:pt x="1421687" y="1929427"/>
                  </a:lnTo>
                  <a:close/>
                  <a:moveTo>
                    <a:pt x="1598001" y="1827878"/>
                  </a:moveTo>
                  <a:lnTo>
                    <a:pt x="1344129" y="1320134"/>
                  </a:lnTo>
                  <a:lnTo>
                    <a:pt x="1598001" y="812390"/>
                  </a:lnTo>
                  <a:lnTo>
                    <a:pt x="2284852" y="812390"/>
                  </a:lnTo>
                  <a:lnTo>
                    <a:pt x="2538724" y="1320134"/>
                  </a:lnTo>
                  <a:lnTo>
                    <a:pt x="2284852" y="182787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0" name="Freeform: Shape 105">
              <a:extLst>
                <a:ext uri="{FF2B5EF4-FFF2-40B4-BE49-F238E27FC236}">
                  <a16:creationId xmlns:a16="http://schemas.microsoft.com/office/drawing/2014/main" id="{AF5D7630-EF6E-2342-AD6F-005DA2BD7024}"/>
                </a:ext>
              </a:extLst>
            </p:cNvPr>
            <p:cNvSpPr/>
            <p:nvPr/>
          </p:nvSpPr>
          <p:spPr>
            <a:xfrm>
              <a:off x="4690608" y="3835195"/>
              <a:ext cx="2411784" cy="913939"/>
            </a:xfrm>
            <a:custGeom>
              <a:avLst/>
              <a:gdLst>
                <a:gd name="connsiteX0" fmla="*/ 2217013 w 2411783"/>
                <a:gd name="connsiteY0" fmla="*/ 304646 h 913939"/>
                <a:gd name="connsiteX1" fmla="*/ 2013916 w 2411783"/>
                <a:gd name="connsiteY1" fmla="*/ 304646 h 913939"/>
                <a:gd name="connsiteX2" fmla="*/ 2013916 w 2411783"/>
                <a:gd name="connsiteY2" fmla="*/ 710842 h 913939"/>
                <a:gd name="connsiteX3" fmla="*/ 1810818 w 2411783"/>
                <a:gd name="connsiteY3" fmla="*/ 710842 h 913939"/>
                <a:gd name="connsiteX4" fmla="*/ 1810818 w 2411783"/>
                <a:gd name="connsiteY4" fmla="*/ 507744 h 913939"/>
                <a:gd name="connsiteX5" fmla="*/ 1607721 w 2411783"/>
                <a:gd name="connsiteY5" fmla="*/ 507744 h 913939"/>
                <a:gd name="connsiteX6" fmla="*/ 1607721 w 2411783"/>
                <a:gd name="connsiteY6" fmla="*/ 710842 h 913939"/>
                <a:gd name="connsiteX7" fmla="*/ 1404623 w 2411783"/>
                <a:gd name="connsiteY7" fmla="*/ 710842 h 913939"/>
                <a:gd name="connsiteX8" fmla="*/ 1404623 w 2411783"/>
                <a:gd name="connsiteY8" fmla="*/ 203098 h 913939"/>
                <a:gd name="connsiteX9" fmla="*/ 1201525 w 2411783"/>
                <a:gd name="connsiteY9" fmla="*/ 203098 h 913939"/>
                <a:gd name="connsiteX10" fmla="*/ 1201525 w 2411783"/>
                <a:gd name="connsiteY10" fmla="*/ 710842 h 913939"/>
                <a:gd name="connsiteX11" fmla="*/ 998428 w 2411783"/>
                <a:gd name="connsiteY11" fmla="*/ 710842 h 913939"/>
                <a:gd name="connsiteX12" fmla="*/ 998428 w 2411783"/>
                <a:gd name="connsiteY12" fmla="*/ 0 h 913939"/>
                <a:gd name="connsiteX13" fmla="*/ 795330 w 2411783"/>
                <a:gd name="connsiteY13" fmla="*/ 0 h 913939"/>
                <a:gd name="connsiteX14" fmla="*/ 795330 w 2411783"/>
                <a:gd name="connsiteY14" fmla="*/ 710842 h 913939"/>
                <a:gd name="connsiteX15" fmla="*/ 545025 w 2411783"/>
                <a:gd name="connsiteY15" fmla="*/ 710842 h 913939"/>
                <a:gd name="connsiteX16" fmla="*/ 168977 w 2411783"/>
                <a:gd name="connsiteY16" fmla="*/ 146725 h 913939"/>
                <a:gd name="connsiteX17" fmla="*/ 0 w 2411783"/>
                <a:gd name="connsiteY17" fmla="*/ 259470 h 913939"/>
                <a:gd name="connsiteX18" fmla="*/ 436342 w 2411783"/>
                <a:gd name="connsiteY18" fmla="*/ 913939 h 913939"/>
                <a:gd name="connsiteX19" fmla="*/ 2420111 w 2411783"/>
                <a:gd name="connsiteY19" fmla="*/ 913939 h 913939"/>
                <a:gd name="connsiteX20" fmla="*/ 2420111 w 2411783"/>
                <a:gd name="connsiteY20" fmla="*/ 710842 h 913939"/>
                <a:gd name="connsiteX21" fmla="*/ 2217013 w 2411783"/>
                <a:gd name="connsiteY21" fmla="*/ 710842 h 91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411783" h="913939">
                  <a:moveTo>
                    <a:pt x="2217013" y="304646"/>
                  </a:moveTo>
                  <a:lnTo>
                    <a:pt x="2013916" y="304646"/>
                  </a:lnTo>
                  <a:lnTo>
                    <a:pt x="2013916" y="710842"/>
                  </a:lnTo>
                  <a:lnTo>
                    <a:pt x="1810818" y="710842"/>
                  </a:lnTo>
                  <a:lnTo>
                    <a:pt x="1810818" y="507744"/>
                  </a:lnTo>
                  <a:lnTo>
                    <a:pt x="1607721" y="507744"/>
                  </a:lnTo>
                  <a:lnTo>
                    <a:pt x="1607721" y="710842"/>
                  </a:lnTo>
                  <a:lnTo>
                    <a:pt x="1404623" y="710842"/>
                  </a:lnTo>
                  <a:lnTo>
                    <a:pt x="1404623" y="203098"/>
                  </a:lnTo>
                  <a:lnTo>
                    <a:pt x="1201525" y="203098"/>
                  </a:lnTo>
                  <a:lnTo>
                    <a:pt x="1201525" y="710842"/>
                  </a:lnTo>
                  <a:lnTo>
                    <a:pt x="998428" y="710842"/>
                  </a:lnTo>
                  <a:lnTo>
                    <a:pt x="998428" y="0"/>
                  </a:lnTo>
                  <a:lnTo>
                    <a:pt x="795330" y="0"/>
                  </a:lnTo>
                  <a:lnTo>
                    <a:pt x="795330" y="710842"/>
                  </a:lnTo>
                  <a:lnTo>
                    <a:pt x="545025" y="710842"/>
                  </a:lnTo>
                  <a:lnTo>
                    <a:pt x="168977" y="146725"/>
                  </a:lnTo>
                  <a:lnTo>
                    <a:pt x="0" y="259470"/>
                  </a:lnTo>
                  <a:lnTo>
                    <a:pt x="436342" y="913939"/>
                  </a:lnTo>
                  <a:lnTo>
                    <a:pt x="2420111" y="913939"/>
                  </a:lnTo>
                  <a:lnTo>
                    <a:pt x="2420111" y="710842"/>
                  </a:lnTo>
                  <a:lnTo>
                    <a:pt x="2217013" y="710842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1" name="Freeform: Shape 106">
              <a:extLst>
                <a:ext uri="{FF2B5EF4-FFF2-40B4-BE49-F238E27FC236}">
                  <a16:creationId xmlns:a16="http://schemas.microsoft.com/office/drawing/2014/main" id="{8D5482E6-210A-1144-8074-D1B88907966E}"/>
                </a:ext>
              </a:extLst>
            </p:cNvPr>
            <p:cNvSpPr/>
            <p:nvPr/>
          </p:nvSpPr>
          <p:spPr>
            <a:xfrm>
              <a:off x="3901765" y="2108865"/>
              <a:ext cx="1777104" cy="482357"/>
            </a:xfrm>
            <a:custGeom>
              <a:avLst/>
              <a:gdLst>
                <a:gd name="connsiteX0" fmla="*/ 500953 w 1777103"/>
                <a:gd name="connsiteY0" fmla="*/ 203098 h 482356"/>
                <a:gd name="connsiteX1" fmla="*/ 1787271 w 1777103"/>
                <a:gd name="connsiteY1" fmla="*/ 203098 h 482356"/>
                <a:gd name="connsiteX2" fmla="*/ 1787271 w 1777103"/>
                <a:gd name="connsiteY2" fmla="*/ 0 h 482356"/>
                <a:gd name="connsiteX3" fmla="*/ 433321 w 1777103"/>
                <a:gd name="connsiteY3" fmla="*/ 0 h 482356"/>
                <a:gd name="connsiteX4" fmla="*/ 0 w 1777103"/>
                <a:gd name="connsiteY4" fmla="*/ 324982 h 482356"/>
                <a:gd name="connsiteX5" fmla="*/ 121884 w 1777103"/>
                <a:gd name="connsiteY5" fmla="*/ 487409 h 48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7103" h="482356">
                  <a:moveTo>
                    <a:pt x="500953" y="203098"/>
                  </a:moveTo>
                  <a:lnTo>
                    <a:pt x="1787271" y="203098"/>
                  </a:lnTo>
                  <a:lnTo>
                    <a:pt x="1787271" y="0"/>
                  </a:lnTo>
                  <a:lnTo>
                    <a:pt x="433321" y="0"/>
                  </a:lnTo>
                  <a:lnTo>
                    <a:pt x="0" y="324982"/>
                  </a:lnTo>
                  <a:lnTo>
                    <a:pt x="121884" y="487409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2" name="Freeform: Shape 107">
              <a:extLst>
                <a:ext uri="{FF2B5EF4-FFF2-40B4-BE49-F238E27FC236}">
                  <a16:creationId xmlns:a16="http://schemas.microsoft.com/office/drawing/2014/main" id="{DEAAECE9-9C5D-7A41-B7D5-6E55324D8600}"/>
                </a:ext>
              </a:extLst>
            </p:cNvPr>
            <p:cNvSpPr/>
            <p:nvPr/>
          </p:nvSpPr>
          <p:spPr>
            <a:xfrm>
              <a:off x="2642572" y="2515060"/>
              <a:ext cx="406195" cy="203098"/>
            </a:xfrm>
            <a:custGeom>
              <a:avLst/>
              <a:gdLst>
                <a:gd name="connsiteX0" fmla="*/ 0 w 406195"/>
                <a:gd name="connsiteY0" fmla="*/ 0 h 203097"/>
                <a:gd name="connsiteX1" fmla="*/ 406195 w 406195"/>
                <a:gd name="connsiteY1" fmla="*/ 0 h 203097"/>
                <a:gd name="connsiteX2" fmla="*/ 406195 w 406195"/>
                <a:gd name="connsiteY2" fmla="*/ 203098 h 203097"/>
                <a:gd name="connsiteX3" fmla="*/ 0 w 406195"/>
                <a:gd name="connsiteY3" fmla="*/ 203098 h 203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195" h="203097">
                  <a:moveTo>
                    <a:pt x="0" y="0"/>
                  </a:moveTo>
                  <a:lnTo>
                    <a:pt x="406195" y="0"/>
                  </a:lnTo>
                  <a:lnTo>
                    <a:pt x="406195" y="203098"/>
                  </a:lnTo>
                  <a:lnTo>
                    <a:pt x="0" y="20309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3" name="Freeform: Shape 108">
              <a:extLst>
                <a:ext uri="{FF2B5EF4-FFF2-40B4-BE49-F238E27FC236}">
                  <a16:creationId xmlns:a16="http://schemas.microsoft.com/office/drawing/2014/main" id="{1B4B9E8F-C6AB-604B-82A3-67E8C51F0BDA}"/>
                </a:ext>
              </a:extLst>
            </p:cNvPr>
            <p:cNvSpPr/>
            <p:nvPr/>
          </p:nvSpPr>
          <p:spPr>
            <a:xfrm>
              <a:off x="3567123" y="3078986"/>
              <a:ext cx="380808" cy="495050"/>
            </a:xfrm>
            <a:custGeom>
              <a:avLst/>
              <a:gdLst>
                <a:gd name="connsiteX0" fmla="*/ 0 w 380807"/>
                <a:gd name="connsiteY0" fmla="*/ 406144 h 495050"/>
                <a:gd name="connsiteX1" fmla="*/ 203098 w 380807"/>
                <a:gd name="connsiteY1" fmla="*/ 0 h 495050"/>
                <a:gd name="connsiteX2" fmla="*/ 384730 w 380807"/>
                <a:gd name="connsiteY2" fmla="*/ 90835 h 495050"/>
                <a:gd name="connsiteX3" fmla="*/ 181633 w 380807"/>
                <a:gd name="connsiteY3" fmla="*/ 496980 h 49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807" h="495050">
                  <a:moveTo>
                    <a:pt x="0" y="406144"/>
                  </a:moveTo>
                  <a:lnTo>
                    <a:pt x="203098" y="0"/>
                  </a:lnTo>
                  <a:lnTo>
                    <a:pt x="384730" y="90835"/>
                  </a:lnTo>
                  <a:lnTo>
                    <a:pt x="181633" y="496980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4" name="Freeform: Shape 109">
              <a:extLst>
                <a:ext uri="{FF2B5EF4-FFF2-40B4-BE49-F238E27FC236}">
                  <a16:creationId xmlns:a16="http://schemas.microsoft.com/office/drawing/2014/main" id="{857B4812-B1B7-1549-A099-486F22CA4E9F}"/>
                </a:ext>
              </a:extLst>
            </p:cNvPr>
            <p:cNvSpPr/>
            <p:nvPr/>
          </p:nvSpPr>
          <p:spPr>
            <a:xfrm>
              <a:off x="2856282" y="3891326"/>
              <a:ext cx="380808" cy="495050"/>
            </a:xfrm>
            <a:custGeom>
              <a:avLst/>
              <a:gdLst>
                <a:gd name="connsiteX0" fmla="*/ 0 w 380807"/>
                <a:gd name="connsiteY0" fmla="*/ 406195 h 495050"/>
                <a:gd name="connsiteX1" fmla="*/ 203047 w 380807"/>
                <a:gd name="connsiteY1" fmla="*/ 0 h 495050"/>
                <a:gd name="connsiteX2" fmla="*/ 384730 w 380807"/>
                <a:gd name="connsiteY2" fmla="*/ 90835 h 495050"/>
                <a:gd name="connsiteX3" fmla="*/ 181633 w 380807"/>
                <a:gd name="connsiteY3" fmla="*/ 496980 h 49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807" h="495050">
                  <a:moveTo>
                    <a:pt x="0" y="406195"/>
                  </a:moveTo>
                  <a:lnTo>
                    <a:pt x="203047" y="0"/>
                  </a:lnTo>
                  <a:lnTo>
                    <a:pt x="384730" y="90835"/>
                  </a:lnTo>
                  <a:lnTo>
                    <a:pt x="181633" y="496980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35" name="Oval 134">
            <a:extLst>
              <a:ext uri="{FF2B5EF4-FFF2-40B4-BE49-F238E27FC236}">
                <a16:creationId xmlns:a16="http://schemas.microsoft.com/office/drawing/2014/main" id="{EF82A47E-1845-064F-9E1D-CE5022470FE3}"/>
              </a:ext>
            </a:extLst>
          </p:cNvPr>
          <p:cNvSpPr/>
          <p:nvPr/>
        </p:nvSpPr>
        <p:spPr bwMode="auto">
          <a:xfrm>
            <a:off x="4227204" y="1508778"/>
            <a:ext cx="1059316" cy="106666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E7BADF38-8B3E-D84A-80AF-10BB536C607B}"/>
              </a:ext>
            </a:extLst>
          </p:cNvPr>
          <p:cNvSpPr/>
          <p:nvPr/>
        </p:nvSpPr>
        <p:spPr bwMode="auto">
          <a:xfrm>
            <a:off x="1466553" y="1504678"/>
            <a:ext cx="1059316" cy="1066661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91ED1218-1859-0140-98F7-79CFB3C3FF21}"/>
              </a:ext>
            </a:extLst>
          </p:cNvPr>
          <p:cNvSpPr>
            <a:spLocks noChangeAspect="1"/>
          </p:cNvSpPr>
          <p:nvPr/>
        </p:nvSpPr>
        <p:spPr bwMode="auto">
          <a:xfrm>
            <a:off x="1546527" y="1594772"/>
            <a:ext cx="899367" cy="899367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42" name="Graphic 4">
            <a:extLst>
              <a:ext uri="{FF2B5EF4-FFF2-40B4-BE49-F238E27FC236}">
                <a16:creationId xmlns:a16="http://schemas.microsoft.com/office/drawing/2014/main" id="{A78E3F65-F8F6-1B43-BAEF-62DC45152B65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705964" y="1716078"/>
            <a:ext cx="580493" cy="580493"/>
            <a:chOff x="1423987" y="280987"/>
            <a:chExt cx="6296025" cy="6296025"/>
          </a:xfrm>
          <a:solidFill>
            <a:schemeClr val="bg1"/>
          </a:solidFill>
        </p:grpSpPr>
        <p:sp>
          <p:nvSpPr>
            <p:cNvPr id="188" name="Freeform: Shape 6">
              <a:extLst>
                <a:ext uri="{FF2B5EF4-FFF2-40B4-BE49-F238E27FC236}">
                  <a16:creationId xmlns:a16="http://schemas.microsoft.com/office/drawing/2014/main" id="{11F4A706-B950-1F47-B79B-B4D67304E398}"/>
                </a:ext>
              </a:extLst>
            </p:cNvPr>
            <p:cNvSpPr/>
            <p:nvPr/>
          </p:nvSpPr>
          <p:spPr>
            <a:xfrm>
              <a:off x="1423987" y="280987"/>
              <a:ext cx="6296025" cy="6296025"/>
            </a:xfrm>
            <a:custGeom>
              <a:avLst/>
              <a:gdLst>
                <a:gd name="connsiteX0" fmla="*/ 6296025 w 6296025"/>
                <a:gd name="connsiteY0" fmla="*/ 3148013 h 6296025"/>
                <a:gd name="connsiteX1" fmla="*/ 3148013 w 6296025"/>
                <a:gd name="connsiteY1" fmla="*/ 0 h 6296025"/>
                <a:gd name="connsiteX2" fmla="*/ 1421683 w 6296025"/>
                <a:gd name="connsiteY2" fmla="*/ 517314 h 6296025"/>
                <a:gd name="connsiteX3" fmla="*/ 1421683 w 6296025"/>
                <a:gd name="connsiteY3" fmla="*/ 0 h 6296025"/>
                <a:gd name="connsiteX4" fmla="*/ 913939 w 6296025"/>
                <a:gd name="connsiteY4" fmla="*/ 0 h 6296025"/>
                <a:gd name="connsiteX5" fmla="*/ 406195 w 6296025"/>
                <a:gd name="connsiteY5" fmla="*/ 507744 h 6296025"/>
                <a:gd name="connsiteX6" fmla="*/ 406195 w 6296025"/>
                <a:gd name="connsiteY6" fmla="*/ 1601818 h 6296025"/>
                <a:gd name="connsiteX7" fmla="*/ 0 w 6296025"/>
                <a:gd name="connsiteY7" fmla="*/ 3148013 h 6296025"/>
                <a:gd name="connsiteX8" fmla="*/ 406195 w 6296025"/>
                <a:gd name="connsiteY8" fmla="*/ 4693166 h 6296025"/>
                <a:gd name="connsiteX9" fmla="*/ 406195 w 6296025"/>
                <a:gd name="connsiteY9" fmla="*/ 4772793 h 6296025"/>
                <a:gd name="connsiteX10" fmla="*/ 824688 w 6296025"/>
                <a:gd name="connsiteY10" fmla="*/ 5271512 h 6296025"/>
                <a:gd name="connsiteX11" fmla="*/ 3148013 w 6296025"/>
                <a:gd name="connsiteY11" fmla="*/ 6296025 h 6296025"/>
                <a:gd name="connsiteX12" fmla="*/ 3881906 w 6296025"/>
                <a:gd name="connsiteY12" fmla="*/ 6208808 h 6296025"/>
                <a:gd name="connsiteX13" fmla="*/ 4163501 w 6296025"/>
                <a:gd name="connsiteY13" fmla="*/ 6296025 h 6296025"/>
                <a:gd name="connsiteX14" fmla="*/ 4569696 w 6296025"/>
                <a:gd name="connsiteY14" fmla="*/ 6092636 h 6296025"/>
                <a:gd name="connsiteX15" fmla="*/ 4975891 w 6296025"/>
                <a:gd name="connsiteY15" fmla="*/ 6296025 h 6296025"/>
                <a:gd name="connsiteX16" fmla="*/ 5479078 w 6296025"/>
                <a:gd name="connsiteY16" fmla="*/ 5856509 h 6296025"/>
                <a:gd name="connsiteX17" fmla="*/ 5889830 w 6296025"/>
                <a:gd name="connsiteY17" fmla="*/ 5280537 h 6296025"/>
                <a:gd name="connsiteX18" fmla="*/ 5758337 w 6296025"/>
                <a:gd name="connsiteY18" fmla="*/ 4904489 h 6296025"/>
                <a:gd name="connsiteX19" fmla="*/ 6296025 w 6296025"/>
                <a:gd name="connsiteY19" fmla="*/ 3148013 h 6296025"/>
                <a:gd name="connsiteX20" fmla="*/ 5889830 w 6296025"/>
                <a:gd name="connsiteY20" fmla="*/ 4222501 h 6296025"/>
                <a:gd name="connsiteX21" fmla="*/ 5889830 w 6296025"/>
                <a:gd name="connsiteY21" fmla="*/ 2075454 h 6296025"/>
                <a:gd name="connsiteX22" fmla="*/ 6092928 w 6296025"/>
                <a:gd name="connsiteY22" fmla="*/ 3148013 h 6296025"/>
                <a:gd name="connsiteX23" fmla="*/ 5889830 w 6296025"/>
                <a:gd name="connsiteY23" fmla="*/ 4222501 h 6296025"/>
                <a:gd name="connsiteX24" fmla="*/ 3148013 w 6296025"/>
                <a:gd name="connsiteY24" fmla="*/ 203098 h 6296025"/>
                <a:gd name="connsiteX25" fmla="*/ 4938699 w 6296025"/>
                <a:gd name="connsiteY25" fmla="*/ 812390 h 6296025"/>
                <a:gd name="connsiteX26" fmla="*/ 1421683 w 6296025"/>
                <a:gd name="connsiteY26" fmla="*/ 812390 h 6296025"/>
                <a:gd name="connsiteX27" fmla="*/ 1421683 w 6296025"/>
                <a:gd name="connsiteY27" fmla="*/ 763649 h 6296025"/>
                <a:gd name="connsiteX28" fmla="*/ 3148013 w 6296025"/>
                <a:gd name="connsiteY28" fmla="*/ 203098 h 6296025"/>
                <a:gd name="connsiteX29" fmla="*/ 609293 w 6296025"/>
                <a:gd name="connsiteY29" fmla="*/ 507744 h 6296025"/>
                <a:gd name="connsiteX30" fmla="*/ 913939 w 6296025"/>
                <a:gd name="connsiteY30" fmla="*/ 203098 h 6296025"/>
                <a:gd name="connsiteX31" fmla="*/ 1218586 w 6296025"/>
                <a:gd name="connsiteY31" fmla="*/ 203098 h 6296025"/>
                <a:gd name="connsiteX32" fmla="*/ 1218586 w 6296025"/>
                <a:gd name="connsiteY32" fmla="*/ 4265049 h 6296025"/>
                <a:gd name="connsiteX33" fmla="*/ 913939 w 6296025"/>
                <a:gd name="connsiteY33" fmla="*/ 4265049 h 6296025"/>
                <a:gd name="connsiteX34" fmla="*/ 609293 w 6296025"/>
                <a:gd name="connsiteY34" fmla="*/ 4366801 h 6296025"/>
                <a:gd name="connsiteX35" fmla="*/ 203098 w 6296025"/>
                <a:gd name="connsiteY35" fmla="*/ 3148013 h 6296025"/>
                <a:gd name="connsiteX36" fmla="*/ 406195 w 6296025"/>
                <a:gd name="connsiteY36" fmla="*/ 2075454 h 6296025"/>
                <a:gd name="connsiteX37" fmla="*/ 406195 w 6296025"/>
                <a:gd name="connsiteY37" fmla="*/ 4220076 h 6296025"/>
                <a:gd name="connsiteX38" fmla="*/ 203098 w 6296025"/>
                <a:gd name="connsiteY38" fmla="*/ 3148013 h 6296025"/>
                <a:gd name="connsiteX39" fmla="*/ 609293 w 6296025"/>
                <a:gd name="connsiteY39" fmla="*/ 4772793 h 6296025"/>
                <a:gd name="connsiteX40" fmla="*/ 913939 w 6296025"/>
                <a:gd name="connsiteY40" fmla="*/ 4468147 h 6296025"/>
                <a:gd name="connsiteX41" fmla="*/ 1421683 w 6296025"/>
                <a:gd name="connsiteY41" fmla="*/ 4468147 h 6296025"/>
                <a:gd name="connsiteX42" fmla="*/ 1421683 w 6296025"/>
                <a:gd name="connsiteY42" fmla="*/ 1015488 h 6296025"/>
                <a:gd name="connsiteX43" fmla="*/ 5175714 w 6296025"/>
                <a:gd name="connsiteY43" fmla="*/ 1015488 h 6296025"/>
                <a:gd name="connsiteX44" fmla="*/ 5686733 w 6296025"/>
                <a:gd name="connsiteY44" fmla="*/ 1658203 h 6296025"/>
                <a:gd name="connsiteX45" fmla="*/ 5686733 w 6296025"/>
                <a:gd name="connsiteY45" fmla="*/ 4639764 h 6296025"/>
                <a:gd name="connsiteX46" fmla="*/ 5606103 w 6296025"/>
                <a:gd name="connsiteY46" fmla="*/ 4766497 h 6296025"/>
                <a:gd name="connsiteX47" fmla="*/ 5476844 w 6296025"/>
                <a:gd name="connsiteY47" fmla="*/ 4705454 h 6296025"/>
                <a:gd name="connsiteX48" fmla="*/ 5077440 w 6296025"/>
                <a:gd name="connsiteY48" fmla="*/ 4275318 h 6296025"/>
                <a:gd name="connsiteX49" fmla="*/ 5077440 w 6296025"/>
                <a:gd name="connsiteY49" fmla="*/ 1898632 h 6296025"/>
                <a:gd name="connsiteX50" fmla="*/ 4569696 w 6296025"/>
                <a:gd name="connsiteY50" fmla="*/ 1137019 h 6296025"/>
                <a:gd name="connsiteX51" fmla="*/ 4061952 w 6296025"/>
                <a:gd name="connsiteY51" fmla="*/ 1898632 h 6296025"/>
                <a:gd name="connsiteX52" fmla="*/ 4061952 w 6296025"/>
                <a:gd name="connsiteY52" fmla="*/ 4275318 h 6296025"/>
                <a:gd name="connsiteX53" fmla="*/ 3662548 w 6296025"/>
                <a:gd name="connsiteY53" fmla="*/ 4705454 h 6296025"/>
                <a:gd name="connsiteX54" fmla="*/ 3285015 w 6296025"/>
                <a:gd name="connsiteY54" fmla="*/ 5077440 h 6296025"/>
                <a:gd name="connsiteX55" fmla="*/ 913939 w 6296025"/>
                <a:gd name="connsiteY55" fmla="*/ 5077440 h 6296025"/>
                <a:gd name="connsiteX56" fmla="*/ 609293 w 6296025"/>
                <a:gd name="connsiteY56" fmla="*/ 4772793 h 6296025"/>
                <a:gd name="connsiteX57" fmla="*/ 4569696 w 6296025"/>
                <a:gd name="connsiteY57" fmla="*/ 4468439 h 6296025"/>
                <a:gd name="connsiteX58" fmla="*/ 4265049 w 6296025"/>
                <a:gd name="connsiteY58" fmla="*/ 4276004 h 6296025"/>
                <a:gd name="connsiteX59" fmla="*/ 4265049 w 6296025"/>
                <a:gd name="connsiteY59" fmla="*/ 4061952 h 6296025"/>
                <a:gd name="connsiteX60" fmla="*/ 4874342 w 6296025"/>
                <a:gd name="connsiteY60" fmla="*/ 4061952 h 6296025"/>
                <a:gd name="connsiteX61" fmla="*/ 4874342 w 6296025"/>
                <a:gd name="connsiteY61" fmla="*/ 4276004 h 6296025"/>
                <a:gd name="connsiteX62" fmla="*/ 4569696 w 6296025"/>
                <a:gd name="connsiteY62" fmla="*/ 4468439 h 6296025"/>
                <a:gd name="connsiteX63" fmla="*/ 4874342 w 6296025"/>
                <a:gd name="connsiteY63" fmla="*/ 2030976 h 6296025"/>
                <a:gd name="connsiteX64" fmla="*/ 4874342 w 6296025"/>
                <a:gd name="connsiteY64" fmla="*/ 3858854 h 6296025"/>
                <a:gd name="connsiteX65" fmla="*/ 4671245 w 6296025"/>
                <a:gd name="connsiteY65" fmla="*/ 3858854 h 6296025"/>
                <a:gd name="connsiteX66" fmla="*/ 4671245 w 6296025"/>
                <a:gd name="connsiteY66" fmla="*/ 2030976 h 6296025"/>
                <a:gd name="connsiteX67" fmla="*/ 4353207 w 6296025"/>
                <a:gd name="connsiteY67" fmla="*/ 1827878 h 6296025"/>
                <a:gd name="connsiteX68" fmla="*/ 4569696 w 6296025"/>
                <a:gd name="connsiteY68" fmla="*/ 1503252 h 6296025"/>
                <a:gd name="connsiteX69" fmla="*/ 4786185 w 6296025"/>
                <a:gd name="connsiteY69" fmla="*/ 1827878 h 6296025"/>
                <a:gd name="connsiteX70" fmla="*/ 4265049 w 6296025"/>
                <a:gd name="connsiteY70" fmla="*/ 2030976 h 6296025"/>
                <a:gd name="connsiteX71" fmla="*/ 4468147 w 6296025"/>
                <a:gd name="connsiteY71" fmla="*/ 2030976 h 6296025"/>
                <a:gd name="connsiteX72" fmla="*/ 4468147 w 6296025"/>
                <a:gd name="connsiteY72" fmla="*/ 3858854 h 6296025"/>
                <a:gd name="connsiteX73" fmla="*/ 4265049 w 6296025"/>
                <a:gd name="connsiteY73" fmla="*/ 3858854 h 6296025"/>
                <a:gd name="connsiteX74" fmla="*/ 1118574 w 6296025"/>
                <a:gd name="connsiteY74" fmla="*/ 5280537 h 6296025"/>
                <a:gd name="connsiteX75" fmla="*/ 3249561 w 6296025"/>
                <a:gd name="connsiteY75" fmla="*/ 5280537 h 6296025"/>
                <a:gd name="connsiteX76" fmla="*/ 3660314 w 6296025"/>
                <a:gd name="connsiteY76" fmla="*/ 5856509 h 6296025"/>
                <a:gd name="connsiteX77" fmla="*/ 3721459 w 6296025"/>
                <a:gd name="connsiteY77" fmla="*/ 6036555 h 6296025"/>
                <a:gd name="connsiteX78" fmla="*/ 3148013 w 6296025"/>
                <a:gd name="connsiteY78" fmla="*/ 6092928 h 6296025"/>
                <a:gd name="connsiteX79" fmla="*/ 1118574 w 6296025"/>
                <a:gd name="connsiteY79" fmla="*/ 5280537 h 6296025"/>
                <a:gd name="connsiteX80" fmla="*/ 4163501 w 6296025"/>
                <a:gd name="connsiteY80" fmla="*/ 6092928 h 6296025"/>
                <a:gd name="connsiteX81" fmla="*/ 3858854 w 6296025"/>
                <a:gd name="connsiteY81" fmla="*/ 5793143 h 6296025"/>
                <a:gd name="connsiteX82" fmla="*/ 3862231 w 6296025"/>
                <a:gd name="connsiteY82" fmla="*/ 5695466 h 6296025"/>
                <a:gd name="connsiteX83" fmla="*/ 3778326 w 6296025"/>
                <a:gd name="connsiteY83" fmla="*/ 5678596 h 6296025"/>
                <a:gd name="connsiteX84" fmla="*/ 3452659 w 6296025"/>
                <a:gd name="connsiteY84" fmla="*/ 5280537 h 6296025"/>
                <a:gd name="connsiteX85" fmla="*/ 3679405 w 6296025"/>
                <a:gd name="connsiteY85" fmla="*/ 4917678 h 6296025"/>
                <a:gd name="connsiteX86" fmla="*/ 4163501 w 6296025"/>
                <a:gd name="connsiteY86" fmla="*/ 5280537 h 6296025"/>
                <a:gd name="connsiteX87" fmla="*/ 4265049 w 6296025"/>
                <a:gd name="connsiteY87" fmla="*/ 5280537 h 6296025"/>
                <a:gd name="connsiteX88" fmla="*/ 4265049 w 6296025"/>
                <a:gd name="connsiteY88" fmla="*/ 5077440 h 6296025"/>
                <a:gd name="connsiteX89" fmla="*/ 4163501 w 6296025"/>
                <a:gd name="connsiteY89" fmla="*/ 5077440 h 6296025"/>
                <a:gd name="connsiteX90" fmla="*/ 3858854 w 6296025"/>
                <a:gd name="connsiteY90" fmla="*/ 4772793 h 6296025"/>
                <a:gd name="connsiteX91" fmla="*/ 4163501 w 6296025"/>
                <a:gd name="connsiteY91" fmla="*/ 4468147 h 6296025"/>
                <a:gd name="connsiteX92" fmla="*/ 4468147 w 6296025"/>
                <a:gd name="connsiteY92" fmla="*/ 4772793 h 6296025"/>
                <a:gd name="connsiteX93" fmla="*/ 4468147 w 6296025"/>
                <a:gd name="connsiteY93" fmla="*/ 5788281 h 6296025"/>
                <a:gd name="connsiteX94" fmla="*/ 4163501 w 6296025"/>
                <a:gd name="connsiteY94" fmla="*/ 6092928 h 6296025"/>
                <a:gd name="connsiteX95" fmla="*/ 5360964 w 6296025"/>
                <a:gd name="connsiteY95" fmla="*/ 5678596 h 6296025"/>
                <a:gd name="connsiteX96" fmla="*/ 5277072 w 6296025"/>
                <a:gd name="connsiteY96" fmla="*/ 5695466 h 6296025"/>
                <a:gd name="connsiteX97" fmla="*/ 5279547 w 6296025"/>
                <a:gd name="connsiteY97" fmla="*/ 5781097 h 6296025"/>
                <a:gd name="connsiteX98" fmla="*/ 5280436 w 6296025"/>
                <a:gd name="connsiteY98" fmla="*/ 5793333 h 6296025"/>
                <a:gd name="connsiteX99" fmla="*/ 4975891 w 6296025"/>
                <a:gd name="connsiteY99" fmla="*/ 6092928 h 6296025"/>
                <a:gd name="connsiteX100" fmla="*/ 4671245 w 6296025"/>
                <a:gd name="connsiteY100" fmla="*/ 5788281 h 6296025"/>
                <a:gd name="connsiteX101" fmla="*/ 4671245 w 6296025"/>
                <a:gd name="connsiteY101" fmla="*/ 4772793 h 6296025"/>
                <a:gd name="connsiteX102" fmla="*/ 4975891 w 6296025"/>
                <a:gd name="connsiteY102" fmla="*/ 4468147 h 6296025"/>
                <a:gd name="connsiteX103" fmla="*/ 5280537 w 6296025"/>
                <a:gd name="connsiteY103" fmla="*/ 4772793 h 6296025"/>
                <a:gd name="connsiteX104" fmla="*/ 5052053 w 6296025"/>
                <a:gd name="connsiteY104" fmla="*/ 5067767 h 6296025"/>
                <a:gd name="connsiteX105" fmla="*/ 5102725 w 6296025"/>
                <a:gd name="connsiteY105" fmla="*/ 5264569 h 6296025"/>
                <a:gd name="connsiteX106" fmla="*/ 5460977 w 6296025"/>
                <a:gd name="connsiteY106" fmla="*/ 4918325 h 6296025"/>
                <a:gd name="connsiteX107" fmla="*/ 5686733 w 6296025"/>
                <a:gd name="connsiteY107" fmla="*/ 5280537 h 6296025"/>
                <a:gd name="connsiteX108" fmla="*/ 5360964 w 6296025"/>
                <a:gd name="connsiteY108" fmla="*/ 5678596 h 629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6296025" h="6296025">
                  <a:moveTo>
                    <a:pt x="6296025" y="3148013"/>
                  </a:moveTo>
                  <a:cubicBezTo>
                    <a:pt x="6296025" y="1412112"/>
                    <a:pt x="4883761" y="0"/>
                    <a:pt x="3148013" y="0"/>
                  </a:cubicBezTo>
                  <a:cubicBezTo>
                    <a:pt x="2527016" y="0"/>
                    <a:pt x="1934682" y="179347"/>
                    <a:pt x="1421683" y="517314"/>
                  </a:cubicBezTo>
                  <a:lnTo>
                    <a:pt x="1421683" y="0"/>
                  </a:lnTo>
                  <a:lnTo>
                    <a:pt x="913939" y="0"/>
                  </a:lnTo>
                  <a:cubicBezTo>
                    <a:pt x="633986" y="0"/>
                    <a:pt x="406195" y="227790"/>
                    <a:pt x="406195" y="507744"/>
                  </a:cubicBezTo>
                  <a:lnTo>
                    <a:pt x="406195" y="1601818"/>
                  </a:lnTo>
                  <a:cubicBezTo>
                    <a:pt x="140870" y="2071583"/>
                    <a:pt x="0" y="2605311"/>
                    <a:pt x="0" y="3148013"/>
                  </a:cubicBezTo>
                  <a:cubicBezTo>
                    <a:pt x="0" y="3690918"/>
                    <a:pt x="141068" y="4223503"/>
                    <a:pt x="406195" y="4693166"/>
                  </a:cubicBezTo>
                  <a:lnTo>
                    <a:pt x="406195" y="4772793"/>
                  </a:lnTo>
                  <a:cubicBezTo>
                    <a:pt x="406195" y="5022197"/>
                    <a:pt x="587376" y="5229065"/>
                    <a:pt x="824688" y="5271512"/>
                  </a:cubicBezTo>
                  <a:cubicBezTo>
                    <a:pt x="1420249" y="5922656"/>
                    <a:pt x="2265655" y="6296025"/>
                    <a:pt x="3148013" y="6296025"/>
                  </a:cubicBezTo>
                  <a:cubicBezTo>
                    <a:pt x="3396185" y="6296025"/>
                    <a:pt x="3642669" y="6265979"/>
                    <a:pt x="3881906" y="6208808"/>
                  </a:cubicBezTo>
                  <a:cubicBezTo>
                    <a:pt x="3962738" y="6263098"/>
                    <a:pt x="4059032" y="6296025"/>
                    <a:pt x="4163501" y="6296025"/>
                  </a:cubicBezTo>
                  <a:cubicBezTo>
                    <a:pt x="4329406" y="6296025"/>
                    <a:pt x="4476969" y="6215992"/>
                    <a:pt x="4569696" y="6092636"/>
                  </a:cubicBezTo>
                  <a:cubicBezTo>
                    <a:pt x="4662422" y="6215992"/>
                    <a:pt x="4809986" y="6296025"/>
                    <a:pt x="4975891" y="6296025"/>
                  </a:cubicBezTo>
                  <a:cubicBezTo>
                    <a:pt x="5232683" y="6296025"/>
                    <a:pt x="5445656" y="6104288"/>
                    <a:pt x="5479078" y="5856509"/>
                  </a:cubicBezTo>
                  <a:cubicBezTo>
                    <a:pt x="5721246" y="5773062"/>
                    <a:pt x="5889830" y="5542343"/>
                    <a:pt x="5889830" y="5280537"/>
                  </a:cubicBezTo>
                  <a:cubicBezTo>
                    <a:pt x="5889830" y="5140210"/>
                    <a:pt x="5840693" y="5009110"/>
                    <a:pt x="5758337" y="4904489"/>
                  </a:cubicBezTo>
                  <a:cubicBezTo>
                    <a:pt x="6109188" y="4384344"/>
                    <a:pt x="6296025" y="3779570"/>
                    <a:pt x="6296025" y="3148013"/>
                  </a:cubicBezTo>
                  <a:close/>
                  <a:moveTo>
                    <a:pt x="5889830" y="4222501"/>
                  </a:moveTo>
                  <a:lnTo>
                    <a:pt x="5889830" y="2075454"/>
                  </a:lnTo>
                  <a:cubicBezTo>
                    <a:pt x="6020435" y="2408115"/>
                    <a:pt x="6092928" y="2769629"/>
                    <a:pt x="6092928" y="3148013"/>
                  </a:cubicBezTo>
                  <a:cubicBezTo>
                    <a:pt x="6092928" y="3520595"/>
                    <a:pt x="6022961" y="3883099"/>
                    <a:pt x="5889830" y="4222501"/>
                  </a:cubicBezTo>
                  <a:close/>
                  <a:moveTo>
                    <a:pt x="3148013" y="203098"/>
                  </a:moveTo>
                  <a:cubicBezTo>
                    <a:pt x="3821268" y="203098"/>
                    <a:pt x="4442163" y="430789"/>
                    <a:pt x="4938699" y="812390"/>
                  </a:cubicBezTo>
                  <a:lnTo>
                    <a:pt x="1421683" y="812390"/>
                  </a:lnTo>
                  <a:lnTo>
                    <a:pt x="1421683" y="763649"/>
                  </a:lnTo>
                  <a:cubicBezTo>
                    <a:pt x="1926152" y="397567"/>
                    <a:pt x="2521660" y="203098"/>
                    <a:pt x="3148013" y="203098"/>
                  </a:cubicBezTo>
                  <a:close/>
                  <a:moveTo>
                    <a:pt x="609293" y="507744"/>
                  </a:moveTo>
                  <a:cubicBezTo>
                    <a:pt x="609293" y="339801"/>
                    <a:pt x="745996" y="203098"/>
                    <a:pt x="913939" y="203098"/>
                  </a:cubicBezTo>
                  <a:lnTo>
                    <a:pt x="1218586" y="203098"/>
                  </a:lnTo>
                  <a:lnTo>
                    <a:pt x="1218586" y="4265049"/>
                  </a:lnTo>
                  <a:lnTo>
                    <a:pt x="913939" y="4265049"/>
                  </a:lnTo>
                  <a:cubicBezTo>
                    <a:pt x="799697" y="4265049"/>
                    <a:pt x="694181" y="4302927"/>
                    <a:pt x="609293" y="4366801"/>
                  </a:cubicBezTo>
                  <a:close/>
                  <a:moveTo>
                    <a:pt x="203098" y="3148013"/>
                  </a:moveTo>
                  <a:cubicBezTo>
                    <a:pt x="203098" y="2779403"/>
                    <a:pt x="273359" y="2415554"/>
                    <a:pt x="406195" y="2075454"/>
                  </a:cubicBezTo>
                  <a:lnTo>
                    <a:pt x="406195" y="4220076"/>
                  </a:lnTo>
                  <a:cubicBezTo>
                    <a:pt x="273458" y="3880281"/>
                    <a:pt x="203098" y="3516724"/>
                    <a:pt x="203098" y="3148013"/>
                  </a:cubicBezTo>
                  <a:close/>
                  <a:moveTo>
                    <a:pt x="609293" y="4772793"/>
                  </a:moveTo>
                  <a:cubicBezTo>
                    <a:pt x="609293" y="4604857"/>
                    <a:pt x="745996" y="4468147"/>
                    <a:pt x="913939" y="4468147"/>
                  </a:cubicBezTo>
                  <a:lnTo>
                    <a:pt x="1421683" y="4468147"/>
                  </a:lnTo>
                  <a:lnTo>
                    <a:pt x="1421683" y="1015488"/>
                  </a:lnTo>
                  <a:lnTo>
                    <a:pt x="5175714" y="1015488"/>
                  </a:lnTo>
                  <a:cubicBezTo>
                    <a:pt x="5374356" y="1204454"/>
                    <a:pt x="5546709" y="1420541"/>
                    <a:pt x="5686733" y="1658203"/>
                  </a:cubicBezTo>
                  <a:lnTo>
                    <a:pt x="5686733" y="4639764"/>
                  </a:lnTo>
                  <a:cubicBezTo>
                    <a:pt x="5661345" y="4682694"/>
                    <a:pt x="5633724" y="4724545"/>
                    <a:pt x="5606103" y="4766497"/>
                  </a:cubicBezTo>
                  <a:cubicBezTo>
                    <a:pt x="5566194" y="4741110"/>
                    <a:pt x="5522604" y="4721130"/>
                    <a:pt x="5476844" y="4705454"/>
                  </a:cubicBezTo>
                  <a:cubicBezTo>
                    <a:pt x="5447979" y="4491110"/>
                    <a:pt x="5287138" y="4318058"/>
                    <a:pt x="5077440" y="4275318"/>
                  </a:cubicBezTo>
                  <a:lnTo>
                    <a:pt x="5077440" y="1898632"/>
                  </a:lnTo>
                  <a:lnTo>
                    <a:pt x="4569696" y="1137019"/>
                  </a:lnTo>
                  <a:lnTo>
                    <a:pt x="4061952" y="1898632"/>
                  </a:lnTo>
                  <a:lnTo>
                    <a:pt x="4061952" y="4275318"/>
                  </a:lnTo>
                  <a:cubicBezTo>
                    <a:pt x="3852254" y="4318058"/>
                    <a:pt x="3691413" y="4491110"/>
                    <a:pt x="3662548" y="4705454"/>
                  </a:cubicBezTo>
                  <a:cubicBezTo>
                    <a:pt x="3485142" y="4766193"/>
                    <a:pt x="3346553" y="4904286"/>
                    <a:pt x="3285015" y="5077440"/>
                  </a:cubicBezTo>
                  <a:lnTo>
                    <a:pt x="913939" y="5077440"/>
                  </a:lnTo>
                  <a:cubicBezTo>
                    <a:pt x="745996" y="5077440"/>
                    <a:pt x="609293" y="4940730"/>
                    <a:pt x="609293" y="4772793"/>
                  </a:cubicBezTo>
                  <a:close/>
                  <a:moveTo>
                    <a:pt x="4569696" y="4468439"/>
                  </a:moveTo>
                  <a:cubicBezTo>
                    <a:pt x="4496454" y="4370965"/>
                    <a:pt x="4388711" y="4301290"/>
                    <a:pt x="4265049" y="4276004"/>
                  </a:cubicBezTo>
                  <a:lnTo>
                    <a:pt x="4265049" y="4061952"/>
                  </a:lnTo>
                  <a:lnTo>
                    <a:pt x="4874342" y="4061952"/>
                  </a:lnTo>
                  <a:lnTo>
                    <a:pt x="4874342" y="4276004"/>
                  </a:lnTo>
                  <a:cubicBezTo>
                    <a:pt x="4750681" y="4301290"/>
                    <a:pt x="4642938" y="4370965"/>
                    <a:pt x="4569696" y="4468439"/>
                  </a:cubicBezTo>
                  <a:close/>
                  <a:moveTo>
                    <a:pt x="4874342" y="2030976"/>
                  </a:moveTo>
                  <a:lnTo>
                    <a:pt x="4874342" y="3858854"/>
                  </a:lnTo>
                  <a:lnTo>
                    <a:pt x="4671245" y="3858854"/>
                  </a:lnTo>
                  <a:lnTo>
                    <a:pt x="4671245" y="2030976"/>
                  </a:lnTo>
                  <a:close/>
                  <a:moveTo>
                    <a:pt x="4353207" y="1827878"/>
                  </a:moveTo>
                  <a:lnTo>
                    <a:pt x="4569696" y="1503252"/>
                  </a:lnTo>
                  <a:lnTo>
                    <a:pt x="4786185" y="1827878"/>
                  </a:lnTo>
                  <a:close/>
                  <a:moveTo>
                    <a:pt x="4265049" y="2030976"/>
                  </a:moveTo>
                  <a:lnTo>
                    <a:pt x="4468147" y="2030976"/>
                  </a:lnTo>
                  <a:lnTo>
                    <a:pt x="4468147" y="3858854"/>
                  </a:lnTo>
                  <a:lnTo>
                    <a:pt x="4265049" y="3858854"/>
                  </a:lnTo>
                  <a:close/>
                  <a:moveTo>
                    <a:pt x="1118574" y="5280537"/>
                  </a:moveTo>
                  <a:lnTo>
                    <a:pt x="3249561" y="5280537"/>
                  </a:lnTo>
                  <a:cubicBezTo>
                    <a:pt x="3249561" y="5542343"/>
                    <a:pt x="3418145" y="5773062"/>
                    <a:pt x="3660314" y="5856509"/>
                  </a:cubicBezTo>
                  <a:cubicBezTo>
                    <a:pt x="3669047" y="5921310"/>
                    <a:pt x="3690562" y="5981808"/>
                    <a:pt x="3721459" y="6036555"/>
                  </a:cubicBezTo>
                  <a:cubicBezTo>
                    <a:pt x="3533378" y="6073634"/>
                    <a:pt x="3341247" y="6092928"/>
                    <a:pt x="3148013" y="6092928"/>
                  </a:cubicBezTo>
                  <a:cubicBezTo>
                    <a:pt x="2391157" y="6092928"/>
                    <a:pt x="1663852" y="5798741"/>
                    <a:pt x="1118574" y="5280537"/>
                  </a:cubicBezTo>
                  <a:close/>
                  <a:moveTo>
                    <a:pt x="4163501" y="6092928"/>
                  </a:moveTo>
                  <a:cubicBezTo>
                    <a:pt x="3997151" y="6092928"/>
                    <a:pt x="3861482" y="5958896"/>
                    <a:pt x="3858854" y="5793143"/>
                  </a:cubicBezTo>
                  <a:lnTo>
                    <a:pt x="3862231" y="5695466"/>
                  </a:lnTo>
                  <a:lnTo>
                    <a:pt x="3778326" y="5678596"/>
                  </a:lnTo>
                  <a:cubicBezTo>
                    <a:pt x="3589661" y="5640617"/>
                    <a:pt x="3452659" y="5473175"/>
                    <a:pt x="3452659" y="5280537"/>
                  </a:cubicBezTo>
                  <a:cubicBezTo>
                    <a:pt x="3452659" y="5123848"/>
                    <a:pt x="3544040" y="4985018"/>
                    <a:pt x="3679405" y="4917678"/>
                  </a:cubicBezTo>
                  <a:cubicBezTo>
                    <a:pt x="3742276" y="5126780"/>
                    <a:pt x="3934229" y="5280537"/>
                    <a:pt x="4163501" y="5280537"/>
                  </a:cubicBezTo>
                  <a:lnTo>
                    <a:pt x="4265049" y="5280537"/>
                  </a:lnTo>
                  <a:lnTo>
                    <a:pt x="4265049" y="5077440"/>
                  </a:lnTo>
                  <a:lnTo>
                    <a:pt x="4163501" y="5077440"/>
                  </a:lnTo>
                  <a:cubicBezTo>
                    <a:pt x="3995564" y="5077440"/>
                    <a:pt x="3858854" y="4940730"/>
                    <a:pt x="3858854" y="4772793"/>
                  </a:cubicBezTo>
                  <a:cubicBezTo>
                    <a:pt x="3858854" y="4604857"/>
                    <a:pt x="3995564" y="4468147"/>
                    <a:pt x="4163501" y="4468147"/>
                  </a:cubicBezTo>
                  <a:cubicBezTo>
                    <a:pt x="4331437" y="4468147"/>
                    <a:pt x="4468147" y="4604857"/>
                    <a:pt x="4468147" y="4772793"/>
                  </a:cubicBezTo>
                  <a:lnTo>
                    <a:pt x="4468147" y="5788281"/>
                  </a:lnTo>
                  <a:cubicBezTo>
                    <a:pt x="4468147" y="5956218"/>
                    <a:pt x="4331437" y="6092928"/>
                    <a:pt x="4163501" y="6092928"/>
                  </a:cubicBezTo>
                  <a:close/>
                  <a:moveTo>
                    <a:pt x="5360964" y="5678596"/>
                  </a:moveTo>
                  <a:lnTo>
                    <a:pt x="5277072" y="5695466"/>
                  </a:lnTo>
                  <a:lnTo>
                    <a:pt x="5279547" y="5781097"/>
                  </a:lnTo>
                  <a:cubicBezTo>
                    <a:pt x="5279649" y="5785260"/>
                    <a:pt x="5279941" y="5789170"/>
                    <a:pt x="5280436" y="5793333"/>
                  </a:cubicBezTo>
                  <a:cubicBezTo>
                    <a:pt x="5277808" y="5958998"/>
                    <a:pt x="5142241" y="6092928"/>
                    <a:pt x="4975891" y="6092928"/>
                  </a:cubicBezTo>
                  <a:cubicBezTo>
                    <a:pt x="4807955" y="6092928"/>
                    <a:pt x="4671245" y="5956218"/>
                    <a:pt x="4671245" y="5788281"/>
                  </a:cubicBezTo>
                  <a:lnTo>
                    <a:pt x="4671245" y="4772793"/>
                  </a:lnTo>
                  <a:cubicBezTo>
                    <a:pt x="4671245" y="4604857"/>
                    <a:pt x="4807955" y="4468147"/>
                    <a:pt x="4975891" y="4468147"/>
                  </a:cubicBezTo>
                  <a:cubicBezTo>
                    <a:pt x="5143827" y="4468147"/>
                    <a:pt x="5280537" y="4604857"/>
                    <a:pt x="5280537" y="4772793"/>
                  </a:cubicBezTo>
                  <a:cubicBezTo>
                    <a:pt x="5280537" y="4911928"/>
                    <a:pt x="5186630" y="5033164"/>
                    <a:pt x="5052053" y="5067767"/>
                  </a:cubicBezTo>
                  <a:lnTo>
                    <a:pt x="5102725" y="5264569"/>
                  </a:lnTo>
                  <a:cubicBezTo>
                    <a:pt x="5278113" y="5219405"/>
                    <a:pt x="5410939" y="5085272"/>
                    <a:pt x="5460977" y="4918325"/>
                  </a:cubicBezTo>
                  <a:cubicBezTo>
                    <a:pt x="5595745" y="4985754"/>
                    <a:pt x="5686733" y="5124254"/>
                    <a:pt x="5686733" y="5280537"/>
                  </a:cubicBezTo>
                  <a:cubicBezTo>
                    <a:pt x="5686733" y="5473175"/>
                    <a:pt x="5549731" y="5640617"/>
                    <a:pt x="5360964" y="5678596"/>
                  </a:cubicBez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9" name="Freeform: Shape 8">
              <a:extLst>
                <a:ext uri="{FF2B5EF4-FFF2-40B4-BE49-F238E27FC236}">
                  <a16:creationId xmlns:a16="http://schemas.microsoft.com/office/drawing/2014/main" id="{D847A65C-0CBB-CB46-8997-DCA51C124538}"/>
                </a:ext>
              </a:extLst>
            </p:cNvPr>
            <p:cNvSpPr/>
            <p:nvPr/>
          </p:nvSpPr>
          <p:spPr>
            <a:xfrm>
              <a:off x="3048768" y="1499572"/>
              <a:ext cx="2234073" cy="1218585"/>
            </a:xfrm>
            <a:custGeom>
              <a:avLst/>
              <a:gdLst>
                <a:gd name="connsiteX0" fmla="*/ 2234074 w 2234073"/>
                <a:gd name="connsiteY0" fmla="*/ 0 h 1218585"/>
                <a:gd name="connsiteX1" fmla="*/ 0 w 2234073"/>
                <a:gd name="connsiteY1" fmla="*/ 0 h 1218585"/>
                <a:gd name="connsiteX2" fmla="*/ 0 w 2234073"/>
                <a:gd name="connsiteY2" fmla="*/ 1218586 h 1218585"/>
                <a:gd name="connsiteX3" fmla="*/ 2234074 w 2234073"/>
                <a:gd name="connsiteY3" fmla="*/ 1218586 h 1218585"/>
                <a:gd name="connsiteX4" fmla="*/ 2030976 w 2234073"/>
                <a:gd name="connsiteY4" fmla="*/ 1015488 h 1218585"/>
                <a:gd name="connsiteX5" fmla="*/ 203098 w 2234073"/>
                <a:gd name="connsiteY5" fmla="*/ 1015488 h 1218585"/>
                <a:gd name="connsiteX6" fmla="*/ 203098 w 2234073"/>
                <a:gd name="connsiteY6" fmla="*/ 203098 h 1218585"/>
                <a:gd name="connsiteX7" fmla="*/ 2030976 w 2234073"/>
                <a:gd name="connsiteY7" fmla="*/ 203098 h 121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4073" h="1218585">
                  <a:moveTo>
                    <a:pt x="2234074" y="0"/>
                  </a:moveTo>
                  <a:lnTo>
                    <a:pt x="0" y="0"/>
                  </a:lnTo>
                  <a:lnTo>
                    <a:pt x="0" y="1218586"/>
                  </a:lnTo>
                  <a:lnTo>
                    <a:pt x="2234074" y="1218586"/>
                  </a:lnTo>
                  <a:close/>
                  <a:moveTo>
                    <a:pt x="2030976" y="1015488"/>
                  </a:moveTo>
                  <a:lnTo>
                    <a:pt x="203098" y="1015488"/>
                  </a:lnTo>
                  <a:lnTo>
                    <a:pt x="203098" y="203098"/>
                  </a:lnTo>
                  <a:lnTo>
                    <a:pt x="2030976" y="20309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0" name="Freeform: Shape 11">
              <a:extLst>
                <a:ext uri="{FF2B5EF4-FFF2-40B4-BE49-F238E27FC236}">
                  <a16:creationId xmlns:a16="http://schemas.microsoft.com/office/drawing/2014/main" id="{B0424EEC-E1D4-BE46-9058-22F19666C8B3}"/>
                </a:ext>
              </a:extLst>
            </p:cNvPr>
            <p:cNvSpPr/>
            <p:nvPr/>
          </p:nvSpPr>
          <p:spPr>
            <a:xfrm>
              <a:off x="3048768" y="2921256"/>
              <a:ext cx="2234073" cy="203098"/>
            </a:xfrm>
            <a:custGeom>
              <a:avLst/>
              <a:gdLst>
                <a:gd name="connsiteX0" fmla="*/ 0 w 2234073"/>
                <a:gd name="connsiteY0" fmla="*/ 0 h 203097"/>
                <a:gd name="connsiteX1" fmla="*/ 2234074 w 2234073"/>
                <a:gd name="connsiteY1" fmla="*/ 0 h 203097"/>
                <a:gd name="connsiteX2" fmla="*/ 2234074 w 2234073"/>
                <a:gd name="connsiteY2" fmla="*/ 203098 h 203097"/>
                <a:gd name="connsiteX3" fmla="*/ 0 w 2234073"/>
                <a:gd name="connsiteY3" fmla="*/ 203098 h 203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34073" h="203097">
                  <a:moveTo>
                    <a:pt x="0" y="0"/>
                  </a:moveTo>
                  <a:lnTo>
                    <a:pt x="2234074" y="0"/>
                  </a:lnTo>
                  <a:lnTo>
                    <a:pt x="2234074" y="203098"/>
                  </a:lnTo>
                  <a:lnTo>
                    <a:pt x="0" y="20309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1" name="Freeform: Shape 12">
              <a:extLst>
                <a:ext uri="{FF2B5EF4-FFF2-40B4-BE49-F238E27FC236}">
                  <a16:creationId xmlns:a16="http://schemas.microsoft.com/office/drawing/2014/main" id="{770350AA-4D1A-A144-A05B-64C78E00522E}"/>
                </a:ext>
              </a:extLst>
            </p:cNvPr>
            <p:cNvSpPr/>
            <p:nvPr/>
          </p:nvSpPr>
          <p:spPr>
            <a:xfrm>
              <a:off x="3048768" y="3327451"/>
              <a:ext cx="2234073" cy="203098"/>
            </a:xfrm>
            <a:custGeom>
              <a:avLst/>
              <a:gdLst>
                <a:gd name="connsiteX0" fmla="*/ 0 w 2234073"/>
                <a:gd name="connsiteY0" fmla="*/ 0 h 203097"/>
                <a:gd name="connsiteX1" fmla="*/ 2234074 w 2234073"/>
                <a:gd name="connsiteY1" fmla="*/ 0 h 203097"/>
                <a:gd name="connsiteX2" fmla="*/ 2234074 w 2234073"/>
                <a:gd name="connsiteY2" fmla="*/ 203098 h 203097"/>
                <a:gd name="connsiteX3" fmla="*/ 0 w 2234073"/>
                <a:gd name="connsiteY3" fmla="*/ 203098 h 203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34073" h="203097">
                  <a:moveTo>
                    <a:pt x="0" y="0"/>
                  </a:moveTo>
                  <a:lnTo>
                    <a:pt x="2234074" y="0"/>
                  </a:lnTo>
                  <a:lnTo>
                    <a:pt x="2234074" y="203098"/>
                  </a:lnTo>
                  <a:lnTo>
                    <a:pt x="0" y="20309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2" name="Freeform: Shape 13">
              <a:extLst>
                <a:ext uri="{FF2B5EF4-FFF2-40B4-BE49-F238E27FC236}">
                  <a16:creationId xmlns:a16="http://schemas.microsoft.com/office/drawing/2014/main" id="{BFAADAA5-D278-3E49-88DE-84C8E150737C}"/>
                </a:ext>
              </a:extLst>
            </p:cNvPr>
            <p:cNvSpPr/>
            <p:nvPr/>
          </p:nvSpPr>
          <p:spPr>
            <a:xfrm>
              <a:off x="3048768" y="3733646"/>
              <a:ext cx="2234073" cy="203098"/>
            </a:xfrm>
            <a:custGeom>
              <a:avLst/>
              <a:gdLst>
                <a:gd name="connsiteX0" fmla="*/ 0 w 2234073"/>
                <a:gd name="connsiteY0" fmla="*/ 0 h 203097"/>
                <a:gd name="connsiteX1" fmla="*/ 2234074 w 2234073"/>
                <a:gd name="connsiteY1" fmla="*/ 0 h 203097"/>
                <a:gd name="connsiteX2" fmla="*/ 2234074 w 2234073"/>
                <a:gd name="connsiteY2" fmla="*/ 203098 h 203097"/>
                <a:gd name="connsiteX3" fmla="*/ 0 w 2234073"/>
                <a:gd name="connsiteY3" fmla="*/ 203098 h 203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34073" h="203097">
                  <a:moveTo>
                    <a:pt x="0" y="0"/>
                  </a:moveTo>
                  <a:lnTo>
                    <a:pt x="2234074" y="0"/>
                  </a:lnTo>
                  <a:lnTo>
                    <a:pt x="2234074" y="203098"/>
                  </a:lnTo>
                  <a:lnTo>
                    <a:pt x="0" y="20309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3" name="Freeform: Shape 17">
              <a:extLst>
                <a:ext uri="{FF2B5EF4-FFF2-40B4-BE49-F238E27FC236}">
                  <a16:creationId xmlns:a16="http://schemas.microsoft.com/office/drawing/2014/main" id="{38BDD5F9-8651-8B45-AC02-37E694DA50C2}"/>
                </a:ext>
              </a:extLst>
            </p:cNvPr>
            <p:cNvSpPr/>
            <p:nvPr/>
          </p:nvSpPr>
          <p:spPr>
            <a:xfrm>
              <a:off x="3048768" y="4139841"/>
              <a:ext cx="1827878" cy="203098"/>
            </a:xfrm>
            <a:custGeom>
              <a:avLst/>
              <a:gdLst>
                <a:gd name="connsiteX0" fmla="*/ 0 w 1827878"/>
                <a:gd name="connsiteY0" fmla="*/ 0 h 203097"/>
                <a:gd name="connsiteX1" fmla="*/ 1837551 w 1827878"/>
                <a:gd name="connsiteY1" fmla="*/ 0 h 203097"/>
                <a:gd name="connsiteX2" fmla="*/ 1837551 w 1827878"/>
                <a:gd name="connsiteY2" fmla="*/ 203098 h 203097"/>
                <a:gd name="connsiteX3" fmla="*/ 0 w 1827878"/>
                <a:gd name="connsiteY3" fmla="*/ 203098 h 203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7878" h="203097">
                  <a:moveTo>
                    <a:pt x="0" y="0"/>
                  </a:moveTo>
                  <a:lnTo>
                    <a:pt x="1837551" y="0"/>
                  </a:lnTo>
                  <a:lnTo>
                    <a:pt x="1837551" y="203098"/>
                  </a:lnTo>
                  <a:lnTo>
                    <a:pt x="0" y="20309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4" name="Freeform: Shape 20">
              <a:extLst>
                <a:ext uri="{FF2B5EF4-FFF2-40B4-BE49-F238E27FC236}">
                  <a16:creationId xmlns:a16="http://schemas.microsoft.com/office/drawing/2014/main" id="{37D5FC95-1A84-5449-920E-7DEDF16FB52F}"/>
                </a:ext>
              </a:extLst>
            </p:cNvPr>
            <p:cNvSpPr/>
            <p:nvPr/>
          </p:nvSpPr>
          <p:spPr>
            <a:xfrm>
              <a:off x="5089416" y="4139841"/>
              <a:ext cx="190404" cy="203098"/>
            </a:xfrm>
            <a:custGeom>
              <a:avLst/>
              <a:gdLst>
                <a:gd name="connsiteX0" fmla="*/ 0 w 190403"/>
                <a:gd name="connsiteY0" fmla="*/ 0 h 203097"/>
                <a:gd name="connsiteX1" fmla="*/ 193425 w 190403"/>
                <a:gd name="connsiteY1" fmla="*/ 0 h 203097"/>
                <a:gd name="connsiteX2" fmla="*/ 193425 w 190403"/>
                <a:gd name="connsiteY2" fmla="*/ 203098 h 203097"/>
                <a:gd name="connsiteX3" fmla="*/ 0 w 190403"/>
                <a:gd name="connsiteY3" fmla="*/ 203098 h 203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03" h="203097">
                  <a:moveTo>
                    <a:pt x="0" y="0"/>
                  </a:moveTo>
                  <a:lnTo>
                    <a:pt x="193425" y="0"/>
                  </a:lnTo>
                  <a:lnTo>
                    <a:pt x="193425" y="203098"/>
                  </a:lnTo>
                  <a:lnTo>
                    <a:pt x="0" y="203098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FDB6F2F6-15E9-13A3-E83F-97CF608EBD2F}"/>
              </a:ext>
            </a:extLst>
          </p:cNvPr>
          <p:cNvSpPr>
            <a:spLocks noChangeAspect="1"/>
          </p:cNvSpPr>
          <p:nvPr/>
        </p:nvSpPr>
        <p:spPr bwMode="auto">
          <a:xfrm>
            <a:off x="4307179" y="1585563"/>
            <a:ext cx="899367" cy="899367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07" tIns="45703" rIns="91407" bIns="45703" numCol="1" rtlCol="0" anchor="t" anchorCtr="0" compatLnSpc="1">
            <a:prstTxWarp prst="textNoShape">
              <a:avLst/>
            </a:prstTxWarp>
          </a:bodyPr>
          <a:lstStyle/>
          <a:p>
            <a:pPr algn="ctr" defTabSz="914126">
              <a:buClr>
                <a:srgbClr val="000000"/>
              </a:buClr>
            </a:pPr>
            <a:endParaRPr lang="en-IN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99" name="Graphic 83">
            <a:extLst>
              <a:ext uri="{FF2B5EF4-FFF2-40B4-BE49-F238E27FC236}">
                <a16:creationId xmlns:a16="http://schemas.microsoft.com/office/drawing/2014/main" id="{7B31BC4B-0DD3-164A-A899-8E5F50143675}"/>
              </a:ext>
            </a:extLst>
          </p:cNvPr>
          <p:cNvGrpSpPr>
            <a:grpSpLocks noChangeAspect="1"/>
          </p:cNvGrpSpPr>
          <p:nvPr/>
        </p:nvGrpSpPr>
        <p:grpSpPr>
          <a:xfrm>
            <a:off x="4520433" y="1710867"/>
            <a:ext cx="484067" cy="484067"/>
            <a:chOff x="1423987" y="280987"/>
            <a:chExt cx="6296025" cy="6296025"/>
          </a:xfrm>
          <a:solidFill>
            <a:schemeClr val="bg1"/>
          </a:solidFill>
        </p:grpSpPr>
        <p:sp>
          <p:nvSpPr>
            <p:cNvPr id="200" name="Freeform: Shape 276">
              <a:extLst>
                <a:ext uri="{FF2B5EF4-FFF2-40B4-BE49-F238E27FC236}">
                  <a16:creationId xmlns:a16="http://schemas.microsoft.com/office/drawing/2014/main" id="{13B87E3C-CCF7-D043-964B-1C3F8AF2B00D}"/>
                </a:ext>
              </a:extLst>
            </p:cNvPr>
            <p:cNvSpPr/>
            <p:nvPr/>
          </p:nvSpPr>
          <p:spPr>
            <a:xfrm>
              <a:off x="5079743" y="3936743"/>
              <a:ext cx="2640269" cy="2640269"/>
            </a:xfrm>
            <a:custGeom>
              <a:avLst/>
              <a:gdLst>
                <a:gd name="connsiteX0" fmla="*/ 1320134 w 2640268"/>
                <a:gd name="connsiteY0" fmla="*/ 0 h 2640268"/>
                <a:gd name="connsiteX1" fmla="*/ 0 w 2640268"/>
                <a:gd name="connsiteY1" fmla="*/ 1320134 h 2640268"/>
                <a:gd name="connsiteX2" fmla="*/ 1320134 w 2640268"/>
                <a:gd name="connsiteY2" fmla="*/ 2640269 h 2640268"/>
                <a:gd name="connsiteX3" fmla="*/ 2640269 w 2640268"/>
                <a:gd name="connsiteY3" fmla="*/ 1320134 h 2640268"/>
                <a:gd name="connsiteX4" fmla="*/ 1320134 w 2640268"/>
                <a:gd name="connsiteY4" fmla="*/ 0 h 2640268"/>
                <a:gd name="connsiteX5" fmla="*/ 1320134 w 2640268"/>
                <a:gd name="connsiteY5" fmla="*/ 2437171 h 2640268"/>
                <a:gd name="connsiteX6" fmla="*/ 203098 w 2640268"/>
                <a:gd name="connsiteY6" fmla="*/ 1320134 h 2640268"/>
                <a:gd name="connsiteX7" fmla="*/ 1320134 w 2640268"/>
                <a:gd name="connsiteY7" fmla="*/ 203098 h 2640268"/>
                <a:gd name="connsiteX8" fmla="*/ 2437171 w 2640268"/>
                <a:gd name="connsiteY8" fmla="*/ 1320134 h 2640268"/>
                <a:gd name="connsiteX9" fmla="*/ 1320134 w 2640268"/>
                <a:gd name="connsiteY9" fmla="*/ 2437171 h 2640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40268" h="2640268">
                  <a:moveTo>
                    <a:pt x="1320134" y="0"/>
                  </a:moveTo>
                  <a:cubicBezTo>
                    <a:pt x="592233" y="0"/>
                    <a:pt x="0" y="592233"/>
                    <a:pt x="0" y="1320134"/>
                  </a:cubicBezTo>
                  <a:cubicBezTo>
                    <a:pt x="0" y="2048036"/>
                    <a:pt x="592233" y="2640269"/>
                    <a:pt x="1320134" y="2640269"/>
                  </a:cubicBezTo>
                  <a:cubicBezTo>
                    <a:pt x="2048036" y="2640269"/>
                    <a:pt x="2640269" y="2048036"/>
                    <a:pt x="2640269" y="1320134"/>
                  </a:cubicBezTo>
                  <a:cubicBezTo>
                    <a:pt x="2640269" y="592233"/>
                    <a:pt x="2048036" y="0"/>
                    <a:pt x="1320134" y="0"/>
                  </a:cubicBezTo>
                  <a:close/>
                  <a:moveTo>
                    <a:pt x="1320134" y="2437171"/>
                  </a:moveTo>
                  <a:cubicBezTo>
                    <a:pt x="704241" y="2437171"/>
                    <a:pt x="203098" y="1936028"/>
                    <a:pt x="203098" y="1320134"/>
                  </a:cubicBezTo>
                  <a:cubicBezTo>
                    <a:pt x="203098" y="704241"/>
                    <a:pt x="704241" y="203098"/>
                    <a:pt x="1320134" y="203098"/>
                  </a:cubicBezTo>
                  <a:cubicBezTo>
                    <a:pt x="1936028" y="203098"/>
                    <a:pt x="2437171" y="704241"/>
                    <a:pt x="2437171" y="1320134"/>
                  </a:cubicBezTo>
                  <a:cubicBezTo>
                    <a:pt x="2437171" y="1936028"/>
                    <a:pt x="1936028" y="2437171"/>
                    <a:pt x="1320134" y="2437171"/>
                  </a:cubicBez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1" name="Freeform: Shape 277">
              <a:extLst>
                <a:ext uri="{FF2B5EF4-FFF2-40B4-BE49-F238E27FC236}">
                  <a16:creationId xmlns:a16="http://schemas.microsoft.com/office/drawing/2014/main" id="{790D197D-A05F-DC4F-8202-AED1EB5DF76F}"/>
                </a:ext>
              </a:extLst>
            </p:cNvPr>
            <p:cNvSpPr/>
            <p:nvPr/>
          </p:nvSpPr>
          <p:spPr>
            <a:xfrm>
              <a:off x="6095231" y="4647585"/>
              <a:ext cx="609293" cy="1218585"/>
            </a:xfrm>
            <a:custGeom>
              <a:avLst/>
              <a:gdLst>
                <a:gd name="connsiteX0" fmla="*/ 304646 w 609292"/>
                <a:gd name="connsiteY0" fmla="*/ 913939 h 1218585"/>
                <a:gd name="connsiteX1" fmla="*/ 203098 w 609292"/>
                <a:gd name="connsiteY1" fmla="*/ 812390 h 1218585"/>
                <a:gd name="connsiteX2" fmla="*/ 0 w 609292"/>
                <a:gd name="connsiteY2" fmla="*/ 812390 h 1218585"/>
                <a:gd name="connsiteX3" fmla="*/ 203098 w 609292"/>
                <a:gd name="connsiteY3" fmla="*/ 1098339 h 1218585"/>
                <a:gd name="connsiteX4" fmla="*/ 203098 w 609292"/>
                <a:gd name="connsiteY4" fmla="*/ 1218586 h 1218585"/>
                <a:gd name="connsiteX5" fmla="*/ 406195 w 609292"/>
                <a:gd name="connsiteY5" fmla="*/ 1218586 h 1218585"/>
                <a:gd name="connsiteX6" fmla="*/ 406195 w 609292"/>
                <a:gd name="connsiteY6" fmla="*/ 1098339 h 1218585"/>
                <a:gd name="connsiteX7" fmla="*/ 609293 w 609292"/>
                <a:gd name="connsiteY7" fmla="*/ 812390 h 1218585"/>
                <a:gd name="connsiteX8" fmla="*/ 304646 w 609292"/>
                <a:gd name="connsiteY8" fmla="*/ 507744 h 1218585"/>
                <a:gd name="connsiteX9" fmla="*/ 203098 w 609292"/>
                <a:gd name="connsiteY9" fmla="*/ 406195 h 1218585"/>
                <a:gd name="connsiteX10" fmla="*/ 304646 w 609292"/>
                <a:gd name="connsiteY10" fmla="*/ 304646 h 1218585"/>
                <a:gd name="connsiteX11" fmla="*/ 406195 w 609292"/>
                <a:gd name="connsiteY11" fmla="*/ 406195 h 1218585"/>
                <a:gd name="connsiteX12" fmla="*/ 609293 w 609292"/>
                <a:gd name="connsiteY12" fmla="*/ 406195 h 1218585"/>
                <a:gd name="connsiteX13" fmla="*/ 406195 w 609292"/>
                <a:gd name="connsiteY13" fmla="*/ 120246 h 1218585"/>
                <a:gd name="connsiteX14" fmla="*/ 406195 w 609292"/>
                <a:gd name="connsiteY14" fmla="*/ 0 h 1218585"/>
                <a:gd name="connsiteX15" fmla="*/ 203098 w 609292"/>
                <a:gd name="connsiteY15" fmla="*/ 0 h 1218585"/>
                <a:gd name="connsiteX16" fmla="*/ 203098 w 609292"/>
                <a:gd name="connsiteY16" fmla="*/ 120246 h 1218585"/>
                <a:gd name="connsiteX17" fmla="*/ 0 w 609292"/>
                <a:gd name="connsiteY17" fmla="*/ 406195 h 1218585"/>
                <a:gd name="connsiteX18" fmla="*/ 304646 w 609292"/>
                <a:gd name="connsiteY18" fmla="*/ 710842 h 1218585"/>
                <a:gd name="connsiteX19" fmla="*/ 406195 w 609292"/>
                <a:gd name="connsiteY19" fmla="*/ 812390 h 1218585"/>
                <a:gd name="connsiteX20" fmla="*/ 304646 w 609292"/>
                <a:gd name="connsiteY20" fmla="*/ 913939 h 121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9292" h="1218585">
                  <a:moveTo>
                    <a:pt x="304646" y="913939"/>
                  </a:moveTo>
                  <a:cubicBezTo>
                    <a:pt x="248617" y="913939"/>
                    <a:pt x="203098" y="868318"/>
                    <a:pt x="203098" y="812390"/>
                  </a:cubicBezTo>
                  <a:lnTo>
                    <a:pt x="0" y="812390"/>
                  </a:lnTo>
                  <a:cubicBezTo>
                    <a:pt x="0" y="944582"/>
                    <a:pt x="85187" y="1056298"/>
                    <a:pt x="203098" y="1098339"/>
                  </a:cubicBezTo>
                  <a:lnTo>
                    <a:pt x="203098" y="1218586"/>
                  </a:lnTo>
                  <a:lnTo>
                    <a:pt x="406195" y="1218586"/>
                  </a:lnTo>
                  <a:lnTo>
                    <a:pt x="406195" y="1098339"/>
                  </a:lnTo>
                  <a:cubicBezTo>
                    <a:pt x="524106" y="1056298"/>
                    <a:pt x="609293" y="944582"/>
                    <a:pt x="609293" y="812390"/>
                  </a:cubicBezTo>
                  <a:cubicBezTo>
                    <a:pt x="609293" y="644454"/>
                    <a:pt x="472583" y="507744"/>
                    <a:pt x="304646" y="507744"/>
                  </a:cubicBezTo>
                  <a:cubicBezTo>
                    <a:pt x="248617" y="507744"/>
                    <a:pt x="203098" y="462123"/>
                    <a:pt x="203098" y="406195"/>
                  </a:cubicBezTo>
                  <a:cubicBezTo>
                    <a:pt x="203098" y="350267"/>
                    <a:pt x="248617" y="304646"/>
                    <a:pt x="304646" y="304646"/>
                  </a:cubicBezTo>
                  <a:cubicBezTo>
                    <a:pt x="360676" y="304646"/>
                    <a:pt x="406195" y="350267"/>
                    <a:pt x="406195" y="406195"/>
                  </a:cubicBezTo>
                  <a:lnTo>
                    <a:pt x="609293" y="406195"/>
                  </a:lnTo>
                  <a:cubicBezTo>
                    <a:pt x="609293" y="274004"/>
                    <a:pt x="524106" y="162288"/>
                    <a:pt x="406195" y="120246"/>
                  </a:cubicBezTo>
                  <a:lnTo>
                    <a:pt x="406195" y="0"/>
                  </a:lnTo>
                  <a:lnTo>
                    <a:pt x="203098" y="0"/>
                  </a:lnTo>
                  <a:lnTo>
                    <a:pt x="203098" y="120246"/>
                  </a:lnTo>
                  <a:cubicBezTo>
                    <a:pt x="85187" y="162288"/>
                    <a:pt x="0" y="274004"/>
                    <a:pt x="0" y="406195"/>
                  </a:cubicBezTo>
                  <a:cubicBezTo>
                    <a:pt x="0" y="574132"/>
                    <a:pt x="136710" y="710842"/>
                    <a:pt x="304646" y="710842"/>
                  </a:cubicBezTo>
                  <a:cubicBezTo>
                    <a:pt x="360676" y="710842"/>
                    <a:pt x="406195" y="756462"/>
                    <a:pt x="406195" y="812390"/>
                  </a:cubicBezTo>
                  <a:cubicBezTo>
                    <a:pt x="406195" y="868318"/>
                    <a:pt x="360676" y="913939"/>
                    <a:pt x="304646" y="913939"/>
                  </a:cubicBez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2" name="Freeform: Shape 278">
              <a:extLst>
                <a:ext uri="{FF2B5EF4-FFF2-40B4-BE49-F238E27FC236}">
                  <a16:creationId xmlns:a16="http://schemas.microsoft.com/office/drawing/2014/main" id="{06F23205-43C6-A74B-A3A1-58AC1369F0F7}"/>
                </a:ext>
              </a:extLst>
            </p:cNvPr>
            <p:cNvSpPr/>
            <p:nvPr/>
          </p:nvSpPr>
          <p:spPr>
            <a:xfrm>
              <a:off x="5839925" y="4342939"/>
              <a:ext cx="1472457" cy="1472457"/>
            </a:xfrm>
            <a:custGeom>
              <a:avLst/>
              <a:gdLst>
                <a:gd name="connsiteX0" fmla="*/ 559953 w 1472457"/>
                <a:gd name="connsiteY0" fmla="*/ 0 h 1472457"/>
                <a:gd name="connsiteX1" fmla="*/ 0 w 1472457"/>
                <a:gd name="connsiteY1" fmla="*/ 192537 h 1472457"/>
                <a:gd name="connsiteX2" fmla="*/ 124600 w 1472457"/>
                <a:gd name="connsiteY2" fmla="*/ 352895 h 1472457"/>
                <a:gd name="connsiteX3" fmla="*/ 559953 w 1472457"/>
                <a:gd name="connsiteY3" fmla="*/ 203098 h 1472457"/>
                <a:gd name="connsiteX4" fmla="*/ 1270794 w 1472457"/>
                <a:gd name="connsiteY4" fmla="*/ 913939 h 1472457"/>
                <a:gd name="connsiteX5" fmla="*/ 1120896 w 1472457"/>
                <a:gd name="connsiteY5" fmla="*/ 1349291 h 1472457"/>
                <a:gd name="connsiteX6" fmla="*/ 1281355 w 1472457"/>
                <a:gd name="connsiteY6" fmla="*/ 1473892 h 1472457"/>
                <a:gd name="connsiteX7" fmla="*/ 1473892 w 1472457"/>
                <a:gd name="connsiteY7" fmla="*/ 913939 h 1472457"/>
                <a:gd name="connsiteX8" fmla="*/ 559953 w 1472457"/>
                <a:gd name="connsiteY8" fmla="*/ 0 h 147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2457" h="1472457">
                  <a:moveTo>
                    <a:pt x="559953" y="0"/>
                  </a:moveTo>
                  <a:cubicBezTo>
                    <a:pt x="355611" y="0"/>
                    <a:pt x="162085" y="66591"/>
                    <a:pt x="0" y="192537"/>
                  </a:cubicBezTo>
                  <a:lnTo>
                    <a:pt x="124600" y="352895"/>
                  </a:lnTo>
                  <a:cubicBezTo>
                    <a:pt x="250749" y="254862"/>
                    <a:pt x="401334" y="203098"/>
                    <a:pt x="559953" y="203098"/>
                  </a:cubicBezTo>
                  <a:cubicBezTo>
                    <a:pt x="951817" y="203098"/>
                    <a:pt x="1270794" y="521974"/>
                    <a:pt x="1270794" y="913939"/>
                  </a:cubicBezTo>
                  <a:cubicBezTo>
                    <a:pt x="1270794" y="1072558"/>
                    <a:pt x="1219030" y="1223143"/>
                    <a:pt x="1120896" y="1349291"/>
                  </a:cubicBezTo>
                  <a:lnTo>
                    <a:pt x="1281355" y="1473892"/>
                  </a:lnTo>
                  <a:cubicBezTo>
                    <a:pt x="1407403" y="1311706"/>
                    <a:pt x="1473892" y="1118179"/>
                    <a:pt x="1473892" y="913939"/>
                  </a:cubicBezTo>
                  <a:cubicBezTo>
                    <a:pt x="1473892" y="410067"/>
                    <a:pt x="1063927" y="0"/>
                    <a:pt x="559953" y="0"/>
                  </a:cubicBez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3" name="Freeform: Shape 279">
              <a:extLst>
                <a:ext uri="{FF2B5EF4-FFF2-40B4-BE49-F238E27FC236}">
                  <a16:creationId xmlns:a16="http://schemas.microsoft.com/office/drawing/2014/main" id="{4739DB6D-7476-0B45-8E9F-FACDC1624388}"/>
                </a:ext>
              </a:extLst>
            </p:cNvPr>
            <p:cNvSpPr/>
            <p:nvPr/>
          </p:nvSpPr>
          <p:spPr>
            <a:xfrm>
              <a:off x="5485939" y="4696925"/>
              <a:ext cx="1472457" cy="1472457"/>
            </a:xfrm>
            <a:custGeom>
              <a:avLst/>
              <a:gdLst>
                <a:gd name="connsiteX0" fmla="*/ 913939 w 1472457"/>
                <a:gd name="connsiteY0" fmla="*/ 1270794 h 1472457"/>
                <a:gd name="connsiteX1" fmla="*/ 203098 w 1472457"/>
                <a:gd name="connsiteY1" fmla="*/ 559953 h 1472457"/>
                <a:gd name="connsiteX2" fmla="*/ 352996 w 1472457"/>
                <a:gd name="connsiteY2" fmla="*/ 124600 h 1472457"/>
                <a:gd name="connsiteX3" fmla="*/ 192537 w 1472457"/>
                <a:gd name="connsiteY3" fmla="*/ 0 h 1472457"/>
                <a:gd name="connsiteX4" fmla="*/ 0 w 1472457"/>
                <a:gd name="connsiteY4" fmla="*/ 559953 h 1472457"/>
                <a:gd name="connsiteX5" fmla="*/ 913939 w 1472457"/>
                <a:gd name="connsiteY5" fmla="*/ 1473892 h 1472457"/>
                <a:gd name="connsiteX6" fmla="*/ 1473892 w 1472457"/>
                <a:gd name="connsiteY6" fmla="*/ 1281355 h 1472457"/>
                <a:gd name="connsiteX7" fmla="*/ 1349291 w 1472457"/>
                <a:gd name="connsiteY7" fmla="*/ 1120997 h 1472457"/>
                <a:gd name="connsiteX8" fmla="*/ 913939 w 1472457"/>
                <a:gd name="connsiteY8" fmla="*/ 1270794 h 147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2457" h="1472457">
                  <a:moveTo>
                    <a:pt x="913939" y="1270794"/>
                  </a:moveTo>
                  <a:cubicBezTo>
                    <a:pt x="522075" y="1270794"/>
                    <a:pt x="203098" y="951918"/>
                    <a:pt x="203098" y="559953"/>
                  </a:cubicBezTo>
                  <a:cubicBezTo>
                    <a:pt x="203098" y="401334"/>
                    <a:pt x="254862" y="250749"/>
                    <a:pt x="352996" y="124600"/>
                  </a:cubicBezTo>
                  <a:lnTo>
                    <a:pt x="192537" y="0"/>
                  </a:lnTo>
                  <a:cubicBezTo>
                    <a:pt x="66489" y="162186"/>
                    <a:pt x="0" y="355713"/>
                    <a:pt x="0" y="559953"/>
                  </a:cubicBezTo>
                  <a:cubicBezTo>
                    <a:pt x="0" y="1063825"/>
                    <a:pt x="409965" y="1473892"/>
                    <a:pt x="913939" y="1473892"/>
                  </a:cubicBezTo>
                  <a:cubicBezTo>
                    <a:pt x="1118281" y="1473892"/>
                    <a:pt x="1311807" y="1407301"/>
                    <a:pt x="1473892" y="1281355"/>
                  </a:cubicBezTo>
                  <a:lnTo>
                    <a:pt x="1349291" y="1120997"/>
                  </a:lnTo>
                  <a:cubicBezTo>
                    <a:pt x="1223143" y="1219030"/>
                    <a:pt x="1072558" y="1270794"/>
                    <a:pt x="913939" y="1270794"/>
                  </a:cubicBez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4" name="Freeform: Shape 280">
              <a:extLst>
                <a:ext uri="{FF2B5EF4-FFF2-40B4-BE49-F238E27FC236}">
                  <a16:creationId xmlns:a16="http://schemas.microsoft.com/office/drawing/2014/main" id="{DA55171E-66BB-E54F-9603-C914C66523DA}"/>
                </a:ext>
              </a:extLst>
            </p:cNvPr>
            <p:cNvSpPr/>
            <p:nvPr/>
          </p:nvSpPr>
          <p:spPr>
            <a:xfrm>
              <a:off x="1423987" y="4546036"/>
              <a:ext cx="609293" cy="2030976"/>
            </a:xfrm>
            <a:custGeom>
              <a:avLst/>
              <a:gdLst>
                <a:gd name="connsiteX0" fmla="*/ 406195 w 609292"/>
                <a:gd name="connsiteY0" fmla="*/ 0 h 2030975"/>
                <a:gd name="connsiteX1" fmla="*/ 203098 w 609292"/>
                <a:gd name="connsiteY1" fmla="*/ 0 h 2030975"/>
                <a:gd name="connsiteX2" fmla="*/ 203098 w 609292"/>
                <a:gd name="connsiteY2" fmla="*/ 507744 h 2030975"/>
                <a:gd name="connsiteX3" fmla="*/ 0 w 609292"/>
                <a:gd name="connsiteY3" fmla="*/ 507744 h 2030975"/>
                <a:gd name="connsiteX4" fmla="*/ 0 w 609292"/>
                <a:gd name="connsiteY4" fmla="*/ 2030976 h 2030975"/>
                <a:gd name="connsiteX5" fmla="*/ 609293 w 609292"/>
                <a:gd name="connsiteY5" fmla="*/ 2030976 h 2030975"/>
                <a:gd name="connsiteX6" fmla="*/ 609293 w 609292"/>
                <a:gd name="connsiteY6" fmla="*/ 507744 h 2030975"/>
                <a:gd name="connsiteX7" fmla="*/ 406195 w 609292"/>
                <a:gd name="connsiteY7" fmla="*/ 507744 h 2030975"/>
                <a:gd name="connsiteX8" fmla="*/ 406195 w 609292"/>
                <a:gd name="connsiteY8" fmla="*/ 1827878 h 2030975"/>
                <a:gd name="connsiteX9" fmla="*/ 203098 w 609292"/>
                <a:gd name="connsiteY9" fmla="*/ 1827878 h 2030975"/>
                <a:gd name="connsiteX10" fmla="*/ 203098 w 609292"/>
                <a:gd name="connsiteY10" fmla="*/ 710842 h 2030975"/>
                <a:gd name="connsiteX11" fmla="*/ 406195 w 609292"/>
                <a:gd name="connsiteY11" fmla="*/ 710842 h 203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9292" h="2030975">
                  <a:moveTo>
                    <a:pt x="406195" y="0"/>
                  </a:moveTo>
                  <a:lnTo>
                    <a:pt x="203098" y="0"/>
                  </a:lnTo>
                  <a:lnTo>
                    <a:pt x="203098" y="507744"/>
                  </a:lnTo>
                  <a:lnTo>
                    <a:pt x="0" y="507744"/>
                  </a:lnTo>
                  <a:lnTo>
                    <a:pt x="0" y="2030976"/>
                  </a:lnTo>
                  <a:lnTo>
                    <a:pt x="609293" y="2030976"/>
                  </a:lnTo>
                  <a:lnTo>
                    <a:pt x="609293" y="507744"/>
                  </a:lnTo>
                  <a:lnTo>
                    <a:pt x="406195" y="507744"/>
                  </a:lnTo>
                  <a:close/>
                  <a:moveTo>
                    <a:pt x="406195" y="1827878"/>
                  </a:moveTo>
                  <a:lnTo>
                    <a:pt x="203098" y="1827878"/>
                  </a:lnTo>
                  <a:lnTo>
                    <a:pt x="203098" y="710842"/>
                  </a:lnTo>
                  <a:lnTo>
                    <a:pt x="406195" y="710842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5" name="Freeform: Shape 281">
              <a:extLst>
                <a:ext uri="{FF2B5EF4-FFF2-40B4-BE49-F238E27FC236}">
                  <a16:creationId xmlns:a16="http://schemas.microsoft.com/office/drawing/2014/main" id="{C0D4493A-EA44-D643-9314-28825EA85357}"/>
                </a:ext>
              </a:extLst>
            </p:cNvPr>
            <p:cNvSpPr/>
            <p:nvPr/>
          </p:nvSpPr>
          <p:spPr>
            <a:xfrm>
              <a:off x="2337926" y="4546036"/>
              <a:ext cx="609293" cy="2030976"/>
            </a:xfrm>
            <a:custGeom>
              <a:avLst/>
              <a:gdLst>
                <a:gd name="connsiteX0" fmla="*/ 406195 w 609292"/>
                <a:gd name="connsiteY0" fmla="*/ 0 h 2030975"/>
                <a:gd name="connsiteX1" fmla="*/ 203098 w 609292"/>
                <a:gd name="connsiteY1" fmla="*/ 0 h 2030975"/>
                <a:gd name="connsiteX2" fmla="*/ 203098 w 609292"/>
                <a:gd name="connsiteY2" fmla="*/ 507744 h 2030975"/>
                <a:gd name="connsiteX3" fmla="*/ 0 w 609292"/>
                <a:gd name="connsiteY3" fmla="*/ 507744 h 2030975"/>
                <a:gd name="connsiteX4" fmla="*/ 0 w 609292"/>
                <a:gd name="connsiteY4" fmla="*/ 1218586 h 2030975"/>
                <a:gd name="connsiteX5" fmla="*/ 203098 w 609292"/>
                <a:gd name="connsiteY5" fmla="*/ 1218586 h 2030975"/>
                <a:gd name="connsiteX6" fmla="*/ 203098 w 609292"/>
                <a:gd name="connsiteY6" fmla="*/ 2030976 h 2030975"/>
                <a:gd name="connsiteX7" fmla="*/ 406195 w 609292"/>
                <a:gd name="connsiteY7" fmla="*/ 2030976 h 2030975"/>
                <a:gd name="connsiteX8" fmla="*/ 406195 w 609292"/>
                <a:gd name="connsiteY8" fmla="*/ 1218586 h 2030975"/>
                <a:gd name="connsiteX9" fmla="*/ 609293 w 609292"/>
                <a:gd name="connsiteY9" fmla="*/ 1218586 h 2030975"/>
                <a:gd name="connsiteX10" fmla="*/ 609293 w 609292"/>
                <a:gd name="connsiteY10" fmla="*/ 507744 h 2030975"/>
                <a:gd name="connsiteX11" fmla="*/ 406195 w 609292"/>
                <a:gd name="connsiteY11" fmla="*/ 507744 h 2030975"/>
                <a:gd name="connsiteX12" fmla="*/ 406195 w 609292"/>
                <a:gd name="connsiteY12" fmla="*/ 1015488 h 2030975"/>
                <a:gd name="connsiteX13" fmla="*/ 203098 w 609292"/>
                <a:gd name="connsiteY13" fmla="*/ 1015488 h 2030975"/>
                <a:gd name="connsiteX14" fmla="*/ 203098 w 609292"/>
                <a:gd name="connsiteY14" fmla="*/ 710842 h 2030975"/>
                <a:gd name="connsiteX15" fmla="*/ 406195 w 609292"/>
                <a:gd name="connsiteY15" fmla="*/ 710842 h 203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09292" h="2030975">
                  <a:moveTo>
                    <a:pt x="406195" y="0"/>
                  </a:moveTo>
                  <a:lnTo>
                    <a:pt x="203098" y="0"/>
                  </a:lnTo>
                  <a:lnTo>
                    <a:pt x="203098" y="507744"/>
                  </a:lnTo>
                  <a:lnTo>
                    <a:pt x="0" y="507744"/>
                  </a:lnTo>
                  <a:lnTo>
                    <a:pt x="0" y="1218586"/>
                  </a:lnTo>
                  <a:lnTo>
                    <a:pt x="203098" y="1218586"/>
                  </a:lnTo>
                  <a:lnTo>
                    <a:pt x="203098" y="2030976"/>
                  </a:lnTo>
                  <a:lnTo>
                    <a:pt x="406195" y="2030976"/>
                  </a:lnTo>
                  <a:lnTo>
                    <a:pt x="406195" y="1218586"/>
                  </a:lnTo>
                  <a:lnTo>
                    <a:pt x="609293" y="1218586"/>
                  </a:lnTo>
                  <a:lnTo>
                    <a:pt x="609293" y="507744"/>
                  </a:lnTo>
                  <a:lnTo>
                    <a:pt x="406195" y="507744"/>
                  </a:lnTo>
                  <a:close/>
                  <a:moveTo>
                    <a:pt x="406195" y="1015488"/>
                  </a:moveTo>
                  <a:lnTo>
                    <a:pt x="203098" y="1015488"/>
                  </a:lnTo>
                  <a:lnTo>
                    <a:pt x="203098" y="710842"/>
                  </a:lnTo>
                  <a:lnTo>
                    <a:pt x="406195" y="710842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6" name="Freeform: Shape 282">
              <a:extLst>
                <a:ext uri="{FF2B5EF4-FFF2-40B4-BE49-F238E27FC236}">
                  <a16:creationId xmlns:a16="http://schemas.microsoft.com/office/drawing/2014/main" id="{EFF5BBEC-AE23-7949-95AF-AB9FB213D236}"/>
                </a:ext>
              </a:extLst>
            </p:cNvPr>
            <p:cNvSpPr/>
            <p:nvPr/>
          </p:nvSpPr>
          <p:spPr>
            <a:xfrm>
              <a:off x="3251865" y="4546036"/>
              <a:ext cx="609293" cy="2030976"/>
            </a:xfrm>
            <a:custGeom>
              <a:avLst/>
              <a:gdLst>
                <a:gd name="connsiteX0" fmla="*/ 406195 w 609292"/>
                <a:gd name="connsiteY0" fmla="*/ 0 h 2030975"/>
                <a:gd name="connsiteX1" fmla="*/ 203098 w 609292"/>
                <a:gd name="connsiteY1" fmla="*/ 0 h 2030975"/>
                <a:gd name="connsiteX2" fmla="*/ 203098 w 609292"/>
                <a:gd name="connsiteY2" fmla="*/ 1015488 h 2030975"/>
                <a:gd name="connsiteX3" fmla="*/ 0 w 609292"/>
                <a:gd name="connsiteY3" fmla="*/ 1015488 h 2030975"/>
                <a:gd name="connsiteX4" fmla="*/ 0 w 609292"/>
                <a:gd name="connsiteY4" fmla="*/ 1624781 h 2030975"/>
                <a:gd name="connsiteX5" fmla="*/ 203098 w 609292"/>
                <a:gd name="connsiteY5" fmla="*/ 1624781 h 2030975"/>
                <a:gd name="connsiteX6" fmla="*/ 203098 w 609292"/>
                <a:gd name="connsiteY6" fmla="*/ 2030976 h 2030975"/>
                <a:gd name="connsiteX7" fmla="*/ 406195 w 609292"/>
                <a:gd name="connsiteY7" fmla="*/ 2030976 h 2030975"/>
                <a:gd name="connsiteX8" fmla="*/ 406195 w 609292"/>
                <a:gd name="connsiteY8" fmla="*/ 1624781 h 2030975"/>
                <a:gd name="connsiteX9" fmla="*/ 609293 w 609292"/>
                <a:gd name="connsiteY9" fmla="*/ 1624781 h 2030975"/>
                <a:gd name="connsiteX10" fmla="*/ 609293 w 609292"/>
                <a:gd name="connsiteY10" fmla="*/ 1015488 h 2030975"/>
                <a:gd name="connsiteX11" fmla="*/ 406195 w 609292"/>
                <a:gd name="connsiteY11" fmla="*/ 1015488 h 2030975"/>
                <a:gd name="connsiteX12" fmla="*/ 406195 w 609292"/>
                <a:gd name="connsiteY12" fmla="*/ 1421683 h 2030975"/>
                <a:gd name="connsiteX13" fmla="*/ 203098 w 609292"/>
                <a:gd name="connsiteY13" fmla="*/ 1421683 h 2030975"/>
                <a:gd name="connsiteX14" fmla="*/ 203098 w 609292"/>
                <a:gd name="connsiteY14" fmla="*/ 1218586 h 2030975"/>
                <a:gd name="connsiteX15" fmla="*/ 406195 w 609292"/>
                <a:gd name="connsiteY15" fmla="*/ 1218586 h 203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09292" h="2030975">
                  <a:moveTo>
                    <a:pt x="406195" y="0"/>
                  </a:moveTo>
                  <a:lnTo>
                    <a:pt x="203098" y="0"/>
                  </a:lnTo>
                  <a:lnTo>
                    <a:pt x="203098" y="1015488"/>
                  </a:lnTo>
                  <a:lnTo>
                    <a:pt x="0" y="1015488"/>
                  </a:lnTo>
                  <a:lnTo>
                    <a:pt x="0" y="1624781"/>
                  </a:lnTo>
                  <a:lnTo>
                    <a:pt x="203098" y="1624781"/>
                  </a:lnTo>
                  <a:lnTo>
                    <a:pt x="203098" y="2030976"/>
                  </a:lnTo>
                  <a:lnTo>
                    <a:pt x="406195" y="2030976"/>
                  </a:lnTo>
                  <a:lnTo>
                    <a:pt x="406195" y="1624781"/>
                  </a:lnTo>
                  <a:lnTo>
                    <a:pt x="609293" y="1624781"/>
                  </a:lnTo>
                  <a:lnTo>
                    <a:pt x="609293" y="1015488"/>
                  </a:lnTo>
                  <a:lnTo>
                    <a:pt x="406195" y="1015488"/>
                  </a:lnTo>
                  <a:close/>
                  <a:moveTo>
                    <a:pt x="406195" y="1421683"/>
                  </a:moveTo>
                  <a:lnTo>
                    <a:pt x="203098" y="1421683"/>
                  </a:lnTo>
                  <a:lnTo>
                    <a:pt x="203098" y="1218586"/>
                  </a:lnTo>
                  <a:lnTo>
                    <a:pt x="406195" y="1218586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7" name="Freeform: Shape 283">
              <a:extLst>
                <a:ext uri="{FF2B5EF4-FFF2-40B4-BE49-F238E27FC236}">
                  <a16:creationId xmlns:a16="http://schemas.microsoft.com/office/drawing/2014/main" id="{9E3818B2-39E9-E942-9453-B918547373C8}"/>
                </a:ext>
              </a:extLst>
            </p:cNvPr>
            <p:cNvSpPr/>
            <p:nvPr/>
          </p:nvSpPr>
          <p:spPr>
            <a:xfrm>
              <a:off x="4165804" y="4546036"/>
              <a:ext cx="609293" cy="2030976"/>
            </a:xfrm>
            <a:custGeom>
              <a:avLst/>
              <a:gdLst>
                <a:gd name="connsiteX0" fmla="*/ 406195 w 609292"/>
                <a:gd name="connsiteY0" fmla="*/ 0 h 2030975"/>
                <a:gd name="connsiteX1" fmla="*/ 203098 w 609292"/>
                <a:gd name="connsiteY1" fmla="*/ 0 h 2030975"/>
                <a:gd name="connsiteX2" fmla="*/ 203098 w 609292"/>
                <a:gd name="connsiteY2" fmla="*/ 203098 h 2030975"/>
                <a:gd name="connsiteX3" fmla="*/ 0 w 609292"/>
                <a:gd name="connsiteY3" fmla="*/ 203098 h 2030975"/>
                <a:gd name="connsiteX4" fmla="*/ 0 w 609292"/>
                <a:gd name="connsiteY4" fmla="*/ 1117037 h 2030975"/>
                <a:gd name="connsiteX5" fmla="*/ 203098 w 609292"/>
                <a:gd name="connsiteY5" fmla="*/ 1117037 h 2030975"/>
                <a:gd name="connsiteX6" fmla="*/ 203098 w 609292"/>
                <a:gd name="connsiteY6" fmla="*/ 2030976 h 2030975"/>
                <a:gd name="connsiteX7" fmla="*/ 406195 w 609292"/>
                <a:gd name="connsiteY7" fmla="*/ 2030976 h 2030975"/>
                <a:gd name="connsiteX8" fmla="*/ 406195 w 609292"/>
                <a:gd name="connsiteY8" fmla="*/ 1117037 h 2030975"/>
                <a:gd name="connsiteX9" fmla="*/ 609293 w 609292"/>
                <a:gd name="connsiteY9" fmla="*/ 1117037 h 2030975"/>
                <a:gd name="connsiteX10" fmla="*/ 609293 w 609292"/>
                <a:gd name="connsiteY10" fmla="*/ 203098 h 2030975"/>
                <a:gd name="connsiteX11" fmla="*/ 406195 w 609292"/>
                <a:gd name="connsiteY11" fmla="*/ 203098 h 2030975"/>
                <a:gd name="connsiteX12" fmla="*/ 406195 w 609292"/>
                <a:gd name="connsiteY12" fmla="*/ 913939 h 2030975"/>
                <a:gd name="connsiteX13" fmla="*/ 203098 w 609292"/>
                <a:gd name="connsiteY13" fmla="*/ 913939 h 2030975"/>
                <a:gd name="connsiteX14" fmla="*/ 203098 w 609292"/>
                <a:gd name="connsiteY14" fmla="*/ 406195 h 2030975"/>
                <a:gd name="connsiteX15" fmla="*/ 406195 w 609292"/>
                <a:gd name="connsiteY15" fmla="*/ 406195 h 203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09292" h="2030975">
                  <a:moveTo>
                    <a:pt x="406195" y="0"/>
                  </a:moveTo>
                  <a:lnTo>
                    <a:pt x="203098" y="0"/>
                  </a:lnTo>
                  <a:lnTo>
                    <a:pt x="203098" y="203098"/>
                  </a:lnTo>
                  <a:lnTo>
                    <a:pt x="0" y="203098"/>
                  </a:lnTo>
                  <a:lnTo>
                    <a:pt x="0" y="1117037"/>
                  </a:lnTo>
                  <a:lnTo>
                    <a:pt x="203098" y="1117037"/>
                  </a:lnTo>
                  <a:lnTo>
                    <a:pt x="203098" y="2030976"/>
                  </a:lnTo>
                  <a:lnTo>
                    <a:pt x="406195" y="2030976"/>
                  </a:lnTo>
                  <a:lnTo>
                    <a:pt x="406195" y="1117037"/>
                  </a:lnTo>
                  <a:lnTo>
                    <a:pt x="609293" y="1117037"/>
                  </a:lnTo>
                  <a:lnTo>
                    <a:pt x="609293" y="203098"/>
                  </a:lnTo>
                  <a:lnTo>
                    <a:pt x="406195" y="203098"/>
                  </a:lnTo>
                  <a:close/>
                  <a:moveTo>
                    <a:pt x="406195" y="913939"/>
                  </a:moveTo>
                  <a:lnTo>
                    <a:pt x="203098" y="913939"/>
                  </a:lnTo>
                  <a:lnTo>
                    <a:pt x="203098" y="406195"/>
                  </a:lnTo>
                  <a:lnTo>
                    <a:pt x="406195" y="406195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8" name="Freeform: Shape 284">
              <a:extLst>
                <a:ext uri="{FF2B5EF4-FFF2-40B4-BE49-F238E27FC236}">
                  <a16:creationId xmlns:a16="http://schemas.microsoft.com/office/drawing/2014/main" id="{32B7855E-9844-EB44-89F2-B58FB291E05C}"/>
                </a:ext>
              </a:extLst>
            </p:cNvPr>
            <p:cNvSpPr/>
            <p:nvPr/>
          </p:nvSpPr>
          <p:spPr>
            <a:xfrm>
              <a:off x="1503173" y="280987"/>
              <a:ext cx="3693837" cy="4061952"/>
            </a:xfrm>
            <a:custGeom>
              <a:avLst/>
              <a:gdLst>
                <a:gd name="connsiteX0" fmla="*/ 3520934 w 3693837"/>
                <a:gd name="connsiteY0" fmla="*/ 3164273 h 4061951"/>
                <a:gd name="connsiteX1" fmla="*/ 3168839 w 3693837"/>
                <a:gd name="connsiteY1" fmla="*/ 2777474 h 4061951"/>
                <a:gd name="connsiteX2" fmla="*/ 2459534 w 3693837"/>
                <a:gd name="connsiteY2" fmla="*/ 2564704 h 4061951"/>
                <a:gd name="connsiteX3" fmla="*/ 2459534 w 3693837"/>
                <a:gd name="connsiteY3" fmla="*/ 2363434 h 4061951"/>
                <a:gd name="connsiteX4" fmla="*/ 2637841 w 3693837"/>
                <a:gd name="connsiteY4" fmla="*/ 2023246 h 4061951"/>
                <a:gd name="connsiteX5" fmla="*/ 2967278 w 3693837"/>
                <a:gd name="connsiteY5" fmla="*/ 1624781 h 4061951"/>
                <a:gd name="connsiteX6" fmla="*/ 2967278 w 3693837"/>
                <a:gd name="connsiteY6" fmla="*/ 1117037 h 4061951"/>
                <a:gd name="connsiteX7" fmla="*/ 1850241 w 3693837"/>
                <a:gd name="connsiteY7" fmla="*/ 0 h 4061951"/>
                <a:gd name="connsiteX8" fmla="*/ 733204 w 3693837"/>
                <a:gd name="connsiteY8" fmla="*/ 1117037 h 4061951"/>
                <a:gd name="connsiteX9" fmla="*/ 733204 w 3693837"/>
                <a:gd name="connsiteY9" fmla="*/ 1624781 h 4061951"/>
                <a:gd name="connsiteX10" fmla="*/ 1062642 w 3693837"/>
                <a:gd name="connsiteY10" fmla="*/ 2023246 h 4061951"/>
                <a:gd name="connsiteX11" fmla="*/ 1240948 w 3693837"/>
                <a:gd name="connsiteY11" fmla="*/ 2363434 h 4061951"/>
                <a:gd name="connsiteX12" fmla="*/ 1240948 w 3693837"/>
                <a:gd name="connsiteY12" fmla="*/ 2564704 h 4061951"/>
                <a:gd name="connsiteX13" fmla="*/ 531644 w 3693837"/>
                <a:gd name="connsiteY13" fmla="*/ 2777563 h 4061951"/>
                <a:gd name="connsiteX14" fmla="*/ 179545 w 3693837"/>
                <a:gd name="connsiteY14" fmla="*/ 3164375 h 4061951"/>
                <a:gd name="connsiteX15" fmla="*/ 0 w 3693837"/>
                <a:gd name="connsiteY15" fmla="*/ 4061952 h 4061951"/>
                <a:gd name="connsiteX16" fmla="*/ 3700485 w 3693837"/>
                <a:gd name="connsiteY16" fmla="*/ 4061952 h 4061951"/>
                <a:gd name="connsiteX17" fmla="*/ 1444046 w 3693837"/>
                <a:gd name="connsiteY17" fmla="*/ 2530393 h 4061951"/>
                <a:gd name="connsiteX18" fmla="*/ 1850241 w 3693837"/>
                <a:gd name="connsiteY18" fmla="*/ 2640269 h 4061951"/>
                <a:gd name="connsiteX19" fmla="*/ 2256436 w 3693837"/>
                <a:gd name="connsiteY19" fmla="*/ 2530393 h 4061951"/>
                <a:gd name="connsiteX20" fmla="*/ 2256436 w 3693837"/>
                <a:gd name="connsiteY20" fmla="*/ 2582805 h 4061951"/>
                <a:gd name="connsiteX21" fmla="*/ 1850241 w 3693837"/>
                <a:gd name="connsiteY21" fmla="*/ 2826509 h 4061951"/>
                <a:gd name="connsiteX22" fmla="*/ 1444046 w 3693837"/>
                <a:gd name="connsiteY22" fmla="*/ 2582805 h 4061951"/>
                <a:gd name="connsiteX23" fmla="*/ 2371821 w 3693837"/>
                <a:gd name="connsiteY23" fmla="*/ 2750449 h 4061951"/>
                <a:gd name="connsiteX24" fmla="*/ 2459534 w 3693837"/>
                <a:gd name="connsiteY24" fmla="*/ 2776776 h 4061951"/>
                <a:gd name="connsiteX25" fmla="*/ 2459534 w 3693837"/>
                <a:gd name="connsiteY25" fmla="*/ 3004423 h 4061951"/>
                <a:gd name="connsiteX26" fmla="*/ 2256436 w 3693837"/>
                <a:gd name="connsiteY26" fmla="*/ 3207520 h 4061951"/>
                <a:gd name="connsiteX27" fmla="*/ 2014014 w 3693837"/>
                <a:gd name="connsiteY27" fmla="*/ 2965149 h 4061951"/>
                <a:gd name="connsiteX28" fmla="*/ 1850241 w 3693837"/>
                <a:gd name="connsiteY28" fmla="*/ 2437171 h 4061951"/>
                <a:gd name="connsiteX29" fmla="*/ 1240948 w 3693837"/>
                <a:gd name="connsiteY29" fmla="*/ 1827878 h 4061951"/>
                <a:gd name="connsiteX30" fmla="*/ 1240948 w 3693837"/>
                <a:gd name="connsiteY30" fmla="*/ 1494925 h 4061951"/>
                <a:gd name="connsiteX31" fmla="*/ 1647143 w 3693837"/>
                <a:gd name="connsiteY31" fmla="*/ 1359459 h 4061951"/>
                <a:gd name="connsiteX32" fmla="*/ 1647143 w 3693837"/>
                <a:gd name="connsiteY32" fmla="*/ 1523232 h 4061951"/>
                <a:gd name="connsiteX33" fmla="*/ 1748692 w 3693837"/>
                <a:gd name="connsiteY33" fmla="*/ 1523232 h 4061951"/>
                <a:gd name="connsiteX34" fmla="*/ 2459534 w 3693837"/>
                <a:gd name="connsiteY34" fmla="*/ 1378550 h 4061951"/>
                <a:gd name="connsiteX35" fmla="*/ 2459534 w 3693837"/>
                <a:gd name="connsiteY35" fmla="*/ 1827878 h 4061951"/>
                <a:gd name="connsiteX36" fmla="*/ 1850241 w 3693837"/>
                <a:gd name="connsiteY36" fmla="*/ 2437171 h 4061951"/>
                <a:gd name="connsiteX37" fmla="*/ 2662631 w 3693837"/>
                <a:gd name="connsiteY37" fmla="*/ 1799660 h 4061951"/>
                <a:gd name="connsiteX38" fmla="*/ 2662631 w 3693837"/>
                <a:gd name="connsiteY38" fmla="*/ 1449990 h 4061951"/>
                <a:gd name="connsiteX39" fmla="*/ 2764180 w 3693837"/>
                <a:gd name="connsiteY39" fmla="*/ 1624882 h 4061951"/>
                <a:gd name="connsiteX40" fmla="*/ 2662631 w 3693837"/>
                <a:gd name="connsiteY40" fmla="*/ 1799660 h 4061951"/>
                <a:gd name="connsiteX41" fmla="*/ 1850241 w 3693837"/>
                <a:gd name="connsiteY41" fmla="*/ 203098 h 4061951"/>
                <a:gd name="connsiteX42" fmla="*/ 2764180 w 3693837"/>
                <a:gd name="connsiteY42" fmla="*/ 1117037 h 4061951"/>
                <a:gd name="connsiteX43" fmla="*/ 2764180 w 3693837"/>
                <a:gd name="connsiteY43" fmla="*/ 1275059 h 4061951"/>
                <a:gd name="connsiteX44" fmla="*/ 2662631 w 3693837"/>
                <a:gd name="connsiteY44" fmla="*/ 1233014 h 4061951"/>
                <a:gd name="connsiteX45" fmla="*/ 2662631 w 3693837"/>
                <a:gd name="connsiteY45" fmla="*/ 1117037 h 4061951"/>
                <a:gd name="connsiteX46" fmla="*/ 2459534 w 3693837"/>
                <a:gd name="connsiteY46" fmla="*/ 1117037 h 4061951"/>
                <a:gd name="connsiteX47" fmla="*/ 2459534 w 3693837"/>
                <a:gd name="connsiteY47" fmla="*/ 1155019 h 4061951"/>
                <a:gd name="connsiteX48" fmla="*/ 1850241 w 3693837"/>
                <a:gd name="connsiteY48" fmla="*/ 1317012 h 4061951"/>
                <a:gd name="connsiteX49" fmla="*/ 1850241 w 3693837"/>
                <a:gd name="connsiteY49" fmla="*/ 1077816 h 4061951"/>
                <a:gd name="connsiteX50" fmla="*/ 1240948 w 3693837"/>
                <a:gd name="connsiteY50" fmla="*/ 1280911 h 4061951"/>
                <a:gd name="connsiteX51" fmla="*/ 1240948 w 3693837"/>
                <a:gd name="connsiteY51" fmla="*/ 1117037 h 4061951"/>
                <a:gd name="connsiteX52" fmla="*/ 1037851 w 3693837"/>
                <a:gd name="connsiteY52" fmla="*/ 1117037 h 4061951"/>
                <a:gd name="connsiteX53" fmla="*/ 1037851 w 3693837"/>
                <a:gd name="connsiteY53" fmla="*/ 1233014 h 4061951"/>
                <a:gd name="connsiteX54" fmla="*/ 936302 w 3693837"/>
                <a:gd name="connsiteY54" fmla="*/ 1275059 h 4061951"/>
                <a:gd name="connsiteX55" fmla="*/ 936302 w 3693837"/>
                <a:gd name="connsiteY55" fmla="*/ 1117037 h 4061951"/>
                <a:gd name="connsiteX56" fmla="*/ 1850241 w 3693837"/>
                <a:gd name="connsiteY56" fmla="*/ 203098 h 4061951"/>
                <a:gd name="connsiteX57" fmla="*/ 936302 w 3693837"/>
                <a:gd name="connsiteY57" fmla="*/ 1624781 h 4061951"/>
                <a:gd name="connsiteX58" fmla="*/ 1037851 w 3693837"/>
                <a:gd name="connsiteY58" fmla="*/ 1449901 h 4061951"/>
                <a:gd name="connsiteX59" fmla="*/ 1037851 w 3693837"/>
                <a:gd name="connsiteY59" fmla="*/ 1799572 h 4061951"/>
                <a:gd name="connsiteX60" fmla="*/ 936302 w 3693837"/>
                <a:gd name="connsiteY60" fmla="*/ 1624781 h 4061951"/>
                <a:gd name="connsiteX61" fmla="*/ 1328661 w 3693837"/>
                <a:gd name="connsiteY61" fmla="*/ 2750449 h 4061951"/>
                <a:gd name="connsiteX62" fmla="*/ 1686468 w 3693837"/>
                <a:gd name="connsiteY62" fmla="*/ 2965149 h 4061951"/>
                <a:gd name="connsiteX63" fmla="*/ 1444046 w 3693837"/>
                <a:gd name="connsiteY63" fmla="*/ 3207520 h 4061951"/>
                <a:gd name="connsiteX64" fmla="*/ 1240948 w 3693837"/>
                <a:gd name="connsiteY64" fmla="*/ 3004423 h 4061951"/>
                <a:gd name="connsiteX65" fmla="*/ 1240948 w 3693837"/>
                <a:gd name="connsiteY65" fmla="*/ 2776776 h 4061951"/>
                <a:gd name="connsiteX66" fmla="*/ 2852337 w 3693837"/>
                <a:gd name="connsiteY66" fmla="*/ 3858854 h 4061951"/>
                <a:gd name="connsiteX67" fmla="*/ 2763291 w 3693837"/>
                <a:gd name="connsiteY67" fmla="*/ 3235129 h 4061951"/>
                <a:gd name="connsiteX68" fmla="*/ 2562225 w 3693837"/>
                <a:gd name="connsiteY68" fmla="*/ 3263892 h 4061951"/>
                <a:gd name="connsiteX69" fmla="*/ 2647107 w 3693837"/>
                <a:gd name="connsiteY69" fmla="*/ 3858854 h 4061951"/>
                <a:gd name="connsiteX70" fmla="*/ 1053371 w 3693837"/>
                <a:gd name="connsiteY70" fmla="*/ 3858854 h 4061951"/>
                <a:gd name="connsiteX71" fmla="*/ 1138408 w 3693837"/>
                <a:gd name="connsiteY71" fmla="*/ 3263994 h 4061951"/>
                <a:gd name="connsiteX72" fmla="*/ 937293 w 3693837"/>
                <a:gd name="connsiteY72" fmla="*/ 3235230 h 4061951"/>
                <a:gd name="connsiteX73" fmla="*/ 848141 w 3693837"/>
                <a:gd name="connsiteY73" fmla="*/ 3858854 h 4061951"/>
                <a:gd name="connsiteX74" fmla="*/ 247822 w 3693837"/>
                <a:gd name="connsiteY74" fmla="*/ 3858854 h 4061951"/>
                <a:gd name="connsiteX75" fmla="*/ 378676 w 3693837"/>
                <a:gd name="connsiteY75" fmla="*/ 3204194 h 4061951"/>
                <a:gd name="connsiteX76" fmla="*/ 589905 w 3693837"/>
                <a:gd name="connsiteY76" fmla="*/ 2972143 h 4061951"/>
                <a:gd name="connsiteX77" fmla="*/ 1037851 w 3693837"/>
                <a:gd name="connsiteY77" fmla="*/ 2837667 h 4061951"/>
                <a:gd name="connsiteX78" fmla="*/ 1037851 w 3693837"/>
                <a:gd name="connsiteY78" fmla="*/ 3088518 h 4061951"/>
                <a:gd name="connsiteX79" fmla="*/ 1444046 w 3693837"/>
                <a:gd name="connsiteY79" fmla="*/ 3494713 h 4061951"/>
                <a:gd name="connsiteX80" fmla="*/ 1850241 w 3693837"/>
                <a:gd name="connsiteY80" fmla="*/ 3088518 h 4061951"/>
                <a:gd name="connsiteX81" fmla="*/ 2256436 w 3693837"/>
                <a:gd name="connsiteY81" fmla="*/ 3494713 h 4061951"/>
                <a:gd name="connsiteX82" fmla="*/ 2662631 w 3693837"/>
                <a:gd name="connsiteY82" fmla="*/ 3088518 h 4061951"/>
                <a:gd name="connsiteX83" fmla="*/ 2662631 w 3693837"/>
                <a:gd name="connsiteY83" fmla="*/ 2837667 h 4061951"/>
                <a:gd name="connsiteX84" fmla="*/ 3110576 w 3693837"/>
                <a:gd name="connsiteY84" fmla="*/ 2972041 h 4061951"/>
                <a:gd name="connsiteX85" fmla="*/ 3321810 w 3693837"/>
                <a:gd name="connsiteY85" fmla="*/ 3204042 h 4061951"/>
                <a:gd name="connsiteX86" fmla="*/ 3452656 w 3693837"/>
                <a:gd name="connsiteY86" fmla="*/ 3858854 h 406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693837" h="4061951">
                  <a:moveTo>
                    <a:pt x="3520934" y="3164273"/>
                  </a:moveTo>
                  <a:cubicBezTo>
                    <a:pt x="3484047" y="2979721"/>
                    <a:pt x="3349228" y="2831561"/>
                    <a:pt x="3168839" y="2777474"/>
                  </a:cubicBezTo>
                  <a:lnTo>
                    <a:pt x="2459534" y="2564704"/>
                  </a:lnTo>
                  <a:lnTo>
                    <a:pt x="2459534" y="2363434"/>
                  </a:lnTo>
                  <a:cubicBezTo>
                    <a:pt x="2544124" y="2267394"/>
                    <a:pt x="2606056" y="2151311"/>
                    <a:pt x="2637841" y="2023246"/>
                  </a:cubicBezTo>
                  <a:cubicBezTo>
                    <a:pt x="2825224" y="1987094"/>
                    <a:pt x="2967278" y="1822471"/>
                    <a:pt x="2967278" y="1624781"/>
                  </a:cubicBezTo>
                  <a:lnTo>
                    <a:pt x="2967278" y="1117037"/>
                  </a:lnTo>
                  <a:cubicBezTo>
                    <a:pt x="2967278" y="501150"/>
                    <a:pt x="2466134" y="0"/>
                    <a:pt x="1850241" y="0"/>
                  </a:cubicBezTo>
                  <a:cubicBezTo>
                    <a:pt x="1234347" y="0"/>
                    <a:pt x="733204" y="501150"/>
                    <a:pt x="733204" y="1117037"/>
                  </a:cubicBezTo>
                  <a:lnTo>
                    <a:pt x="733204" y="1624781"/>
                  </a:lnTo>
                  <a:cubicBezTo>
                    <a:pt x="733204" y="1822471"/>
                    <a:pt x="875263" y="1987094"/>
                    <a:pt x="1062642" y="2023246"/>
                  </a:cubicBezTo>
                  <a:cubicBezTo>
                    <a:pt x="1094426" y="2151311"/>
                    <a:pt x="1156357" y="2267394"/>
                    <a:pt x="1240948" y="2363434"/>
                  </a:cubicBezTo>
                  <a:lnTo>
                    <a:pt x="1240948" y="2564704"/>
                  </a:lnTo>
                  <a:lnTo>
                    <a:pt x="531644" y="2777563"/>
                  </a:lnTo>
                  <a:cubicBezTo>
                    <a:pt x="351405" y="2831561"/>
                    <a:pt x="216436" y="2979873"/>
                    <a:pt x="179545" y="3164375"/>
                  </a:cubicBezTo>
                  <a:lnTo>
                    <a:pt x="0" y="4061952"/>
                  </a:lnTo>
                  <a:lnTo>
                    <a:pt x="3700485" y="4061952"/>
                  </a:lnTo>
                  <a:close/>
                  <a:moveTo>
                    <a:pt x="1444046" y="2530393"/>
                  </a:moveTo>
                  <a:cubicBezTo>
                    <a:pt x="1563695" y="2599852"/>
                    <a:pt x="1702183" y="2640269"/>
                    <a:pt x="1850241" y="2640269"/>
                  </a:cubicBezTo>
                  <a:cubicBezTo>
                    <a:pt x="1998299" y="2640269"/>
                    <a:pt x="2136786" y="2599852"/>
                    <a:pt x="2256436" y="2530393"/>
                  </a:cubicBezTo>
                  <a:lnTo>
                    <a:pt x="2256436" y="2582805"/>
                  </a:lnTo>
                  <a:lnTo>
                    <a:pt x="1850241" y="2826509"/>
                  </a:lnTo>
                  <a:lnTo>
                    <a:pt x="1444046" y="2582805"/>
                  </a:lnTo>
                  <a:close/>
                  <a:moveTo>
                    <a:pt x="2371821" y="2750449"/>
                  </a:moveTo>
                  <a:lnTo>
                    <a:pt x="2459534" y="2776776"/>
                  </a:lnTo>
                  <a:lnTo>
                    <a:pt x="2459534" y="3004423"/>
                  </a:lnTo>
                  <a:lnTo>
                    <a:pt x="2256436" y="3207520"/>
                  </a:lnTo>
                  <a:lnTo>
                    <a:pt x="2014014" y="2965149"/>
                  </a:lnTo>
                  <a:close/>
                  <a:moveTo>
                    <a:pt x="1850241" y="2437171"/>
                  </a:moveTo>
                  <a:cubicBezTo>
                    <a:pt x="1514203" y="2437171"/>
                    <a:pt x="1240948" y="2163916"/>
                    <a:pt x="1240948" y="1827878"/>
                  </a:cubicBezTo>
                  <a:lnTo>
                    <a:pt x="1240948" y="1494925"/>
                  </a:lnTo>
                  <a:lnTo>
                    <a:pt x="1647143" y="1359459"/>
                  </a:lnTo>
                  <a:lnTo>
                    <a:pt x="1647143" y="1523232"/>
                  </a:lnTo>
                  <a:lnTo>
                    <a:pt x="1748692" y="1523232"/>
                  </a:lnTo>
                  <a:cubicBezTo>
                    <a:pt x="1992003" y="1523232"/>
                    <a:pt x="2235314" y="1473257"/>
                    <a:pt x="2459534" y="1378550"/>
                  </a:cubicBezTo>
                  <a:lnTo>
                    <a:pt x="2459534" y="1827878"/>
                  </a:lnTo>
                  <a:cubicBezTo>
                    <a:pt x="2459534" y="2163916"/>
                    <a:pt x="2186279" y="2437171"/>
                    <a:pt x="1850241" y="2437171"/>
                  </a:cubicBezTo>
                  <a:close/>
                  <a:moveTo>
                    <a:pt x="2662631" y="1799660"/>
                  </a:moveTo>
                  <a:lnTo>
                    <a:pt x="2662631" y="1449990"/>
                  </a:lnTo>
                  <a:cubicBezTo>
                    <a:pt x="2723078" y="1485253"/>
                    <a:pt x="2764180" y="1550053"/>
                    <a:pt x="2764180" y="1624882"/>
                  </a:cubicBezTo>
                  <a:cubicBezTo>
                    <a:pt x="2764180" y="1699698"/>
                    <a:pt x="2723078" y="1764410"/>
                    <a:pt x="2662631" y="1799660"/>
                  </a:cubicBezTo>
                  <a:close/>
                  <a:moveTo>
                    <a:pt x="1850241" y="203098"/>
                  </a:moveTo>
                  <a:cubicBezTo>
                    <a:pt x="2354215" y="203098"/>
                    <a:pt x="2764180" y="613160"/>
                    <a:pt x="2764180" y="1117037"/>
                  </a:cubicBezTo>
                  <a:lnTo>
                    <a:pt x="2764180" y="1275059"/>
                  </a:lnTo>
                  <a:cubicBezTo>
                    <a:pt x="2732700" y="1256666"/>
                    <a:pt x="2698783" y="1242337"/>
                    <a:pt x="2662631" y="1233014"/>
                  </a:cubicBezTo>
                  <a:lnTo>
                    <a:pt x="2662631" y="1117037"/>
                  </a:lnTo>
                  <a:lnTo>
                    <a:pt x="2459534" y="1117037"/>
                  </a:lnTo>
                  <a:lnTo>
                    <a:pt x="2459534" y="1155019"/>
                  </a:lnTo>
                  <a:cubicBezTo>
                    <a:pt x="2269625" y="1247841"/>
                    <a:pt x="2061170" y="1303480"/>
                    <a:pt x="1850241" y="1317012"/>
                  </a:cubicBezTo>
                  <a:lnTo>
                    <a:pt x="1850241" y="1077816"/>
                  </a:lnTo>
                  <a:lnTo>
                    <a:pt x="1240948" y="1280911"/>
                  </a:lnTo>
                  <a:lnTo>
                    <a:pt x="1240948" y="1117037"/>
                  </a:lnTo>
                  <a:lnTo>
                    <a:pt x="1037851" y="1117037"/>
                  </a:lnTo>
                  <a:lnTo>
                    <a:pt x="1037851" y="1233014"/>
                  </a:lnTo>
                  <a:cubicBezTo>
                    <a:pt x="1001703" y="1242436"/>
                    <a:pt x="967788" y="1256666"/>
                    <a:pt x="936302" y="1275059"/>
                  </a:cubicBezTo>
                  <a:lnTo>
                    <a:pt x="936302" y="1117037"/>
                  </a:lnTo>
                  <a:cubicBezTo>
                    <a:pt x="936302" y="613160"/>
                    <a:pt x="1346267" y="203098"/>
                    <a:pt x="1850241" y="203098"/>
                  </a:cubicBezTo>
                  <a:close/>
                  <a:moveTo>
                    <a:pt x="936302" y="1624781"/>
                  </a:moveTo>
                  <a:cubicBezTo>
                    <a:pt x="936302" y="1549952"/>
                    <a:pt x="977407" y="1485151"/>
                    <a:pt x="1037851" y="1449901"/>
                  </a:cubicBezTo>
                  <a:lnTo>
                    <a:pt x="1037851" y="1799572"/>
                  </a:lnTo>
                  <a:cubicBezTo>
                    <a:pt x="977407" y="1764410"/>
                    <a:pt x="936302" y="1699610"/>
                    <a:pt x="936302" y="1624781"/>
                  </a:cubicBezTo>
                  <a:close/>
                  <a:moveTo>
                    <a:pt x="1328661" y="2750449"/>
                  </a:moveTo>
                  <a:lnTo>
                    <a:pt x="1686468" y="2965149"/>
                  </a:lnTo>
                  <a:lnTo>
                    <a:pt x="1444046" y="3207520"/>
                  </a:lnTo>
                  <a:lnTo>
                    <a:pt x="1240948" y="3004423"/>
                  </a:lnTo>
                  <a:lnTo>
                    <a:pt x="1240948" y="2776776"/>
                  </a:lnTo>
                  <a:close/>
                  <a:moveTo>
                    <a:pt x="2852337" y="3858854"/>
                  </a:moveTo>
                  <a:lnTo>
                    <a:pt x="2763291" y="3235129"/>
                  </a:lnTo>
                  <a:lnTo>
                    <a:pt x="2562225" y="3263892"/>
                  </a:lnTo>
                  <a:lnTo>
                    <a:pt x="2647107" y="3858854"/>
                  </a:lnTo>
                  <a:lnTo>
                    <a:pt x="1053371" y="3858854"/>
                  </a:lnTo>
                  <a:lnTo>
                    <a:pt x="1138408" y="3263994"/>
                  </a:lnTo>
                  <a:lnTo>
                    <a:pt x="937293" y="3235230"/>
                  </a:lnTo>
                  <a:lnTo>
                    <a:pt x="848141" y="3858854"/>
                  </a:lnTo>
                  <a:lnTo>
                    <a:pt x="247822" y="3858854"/>
                  </a:lnTo>
                  <a:lnTo>
                    <a:pt x="378676" y="3204194"/>
                  </a:lnTo>
                  <a:cubicBezTo>
                    <a:pt x="400840" y="3093468"/>
                    <a:pt x="481861" y="3004512"/>
                    <a:pt x="589905" y="2972143"/>
                  </a:cubicBezTo>
                  <a:lnTo>
                    <a:pt x="1037851" y="2837667"/>
                  </a:lnTo>
                  <a:lnTo>
                    <a:pt x="1037851" y="3088518"/>
                  </a:lnTo>
                  <a:lnTo>
                    <a:pt x="1444046" y="3494713"/>
                  </a:lnTo>
                  <a:lnTo>
                    <a:pt x="1850241" y="3088518"/>
                  </a:lnTo>
                  <a:lnTo>
                    <a:pt x="2256436" y="3494713"/>
                  </a:lnTo>
                  <a:lnTo>
                    <a:pt x="2662631" y="3088518"/>
                  </a:lnTo>
                  <a:lnTo>
                    <a:pt x="2662631" y="2837667"/>
                  </a:lnTo>
                  <a:lnTo>
                    <a:pt x="3110576" y="2972041"/>
                  </a:lnTo>
                  <a:cubicBezTo>
                    <a:pt x="3218623" y="3004423"/>
                    <a:pt x="3299647" y="3093367"/>
                    <a:pt x="3321810" y="3204042"/>
                  </a:cubicBezTo>
                  <a:lnTo>
                    <a:pt x="3452656" y="3858854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9" name="Freeform: Shape 285">
              <a:extLst>
                <a:ext uri="{FF2B5EF4-FFF2-40B4-BE49-F238E27FC236}">
                  <a16:creationId xmlns:a16="http://schemas.microsoft.com/office/drawing/2014/main" id="{CD532DCF-A6CD-0C40-99D0-0D33657DF6F1}"/>
                </a:ext>
              </a:extLst>
            </p:cNvPr>
            <p:cNvSpPr/>
            <p:nvPr/>
          </p:nvSpPr>
          <p:spPr>
            <a:xfrm>
              <a:off x="4876646" y="280987"/>
              <a:ext cx="2843366" cy="2843366"/>
            </a:xfrm>
            <a:custGeom>
              <a:avLst/>
              <a:gdLst>
                <a:gd name="connsiteX0" fmla="*/ 2478527 w 2843366"/>
                <a:gd name="connsiteY0" fmla="*/ 1062296 h 2843366"/>
                <a:gd name="connsiteX1" fmla="*/ 2423145 w 2843366"/>
                <a:gd name="connsiteY1" fmla="*/ 928170 h 2843366"/>
                <a:gd name="connsiteX2" fmla="*/ 2629416 w 2843366"/>
                <a:gd name="connsiteY2" fmla="*/ 618862 h 2843366"/>
                <a:gd name="connsiteX3" fmla="*/ 2224503 w 2843366"/>
                <a:gd name="connsiteY3" fmla="*/ 213957 h 2843366"/>
                <a:gd name="connsiteX4" fmla="*/ 1915096 w 2843366"/>
                <a:gd name="connsiteY4" fmla="*/ 420129 h 2843366"/>
                <a:gd name="connsiteX5" fmla="*/ 1780975 w 2843366"/>
                <a:gd name="connsiteY5" fmla="*/ 364743 h 2843366"/>
                <a:gd name="connsiteX6" fmla="*/ 1707936 w 2843366"/>
                <a:gd name="connsiteY6" fmla="*/ 0 h 2843366"/>
                <a:gd name="connsiteX7" fmla="*/ 1135328 w 2843366"/>
                <a:gd name="connsiteY7" fmla="*/ 0 h 2843366"/>
                <a:gd name="connsiteX8" fmla="*/ 1062302 w 2843366"/>
                <a:gd name="connsiteY8" fmla="*/ 364743 h 2843366"/>
                <a:gd name="connsiteX9" fmla="*/ 928169 w 2843366"/>
                <a:gd name="connsiteY9" fmla="*/ 420129 h 2843366"/>
                <a:gd name="connsiteX10" fmla="*/ 618711 w 2843366"/>
                <a:gd name="connsiteY10" fmla="*/ 213957 h 2843366"/>
                <a:gd name="connsiteX11" fmla="*/ 213862 w 2843366"/>
                <a:gd name="connsiteY11" fmla="*/ 618862 h 2843366"/>
                <a:gd name="connsiteX12" fmla="*/ 420133 w 2843366"/>
                <a:gd name="connsiteY12" fmla="*/ 928170 h 2843366"/>
                <a:gd name="connsiteX13" fmla="*/ 364738 w 2843366"/>
                <a:gd name="connsiteY13" fmla="*/ 1062296 h 2843366"/>
                <a:gd name="connsiteX14" fmla="*/ 0 w 2843366"/>
                <a:gd name="connsiteY14" fmla="*/ 1135333 h 2843366"/>
                <a:gd name="connsiteX15" fmla="*/ 0 w 2843366"/>
                <a:gd name="connsiteY15" fmla="*/ 1708038 h 2843366"/>
                <a:gd name="connsiteX16" fmla="*/ 364839 w 2843366"/>
                <a:gd name="connsiteY16" fmla="*/ 1781077 h 2843366"/>
                <a:gd name="connsiteX17" fmla="*/ 420222 w 2843366"/>
                <a:gd name="connsiteY17" fmla="*/ 1915198 h 2843366"/>
                <a:gd name="connsiteX18" fmla="*/ 213951 w 2843366"/>
                <a:gd name="connsiteY18" fmla="*/ 2224503 h 2843366"/>
                <a:gd name="connsiteX19" fmla="*/ 618965 w 2843366"/>
                <a:gd name="connsiteY19" fmla="*/ 2629416 h 2843366"/>
                <a:gd name="connsiteX20" fmla="*/ 928270 w 2843366"/>
                <a:gd name="connsiteY20" fmla="*/ 2423145 h 2843366"/>
                <a:gd name="connsiteX21" fmla="*/ 1062391 w 2843366"/>
                <a:gd name="connsiteY21" fmla="*/ 2478527 h 2843366"/>
                <a:gd name="connsiteX22" fmla="*/ 1135430 w 2843366"/>
                <a:gd name="connsiteY22" fmla="*/ 2843366 h 2843366"/>
                <a:gd name="connsiteX23" fmla="*/ 1708038 w 2843366"/>
                <a:gd name="connsiteY23" fmla="*/ 2843366 h 2843366"/>
                <a:gd name="connsiteX24" fmla="*/ 1781077 w 2843366"/>
                <a:gd name="connsiteY24" fmla="*/ 2478628 h 2843366"/>
                <a:gd name="connsiteX25" fmla="*/ 1915198 w 2843366"/>
                <a:gd name="connsiteY25" fmla="*/ 2423233 h 2843366"/>
                <a:gd name="connsiteX26" fmla="*/ 2224503 w 2843366"/>
                <a:gd name="connsiteY26" fmla="*/ 2629504 h 2843366"/>
                <a:gd name="connsiteX27" fmla="*/ 2629505 w 2843366"/>
                <a:gd name="connsiteY27" fmla="*/ 2224655 h 2843366"/>
                <a:gd name="connsiteX28" fmla="*/ 2423234 w 2843366"/>
                <a:gd name="connsiteY28" fmla="*/ 1915299 h 2843366"/>
                <a:gd name="connsiteX29" fmla="*/ 2478628 w 2843366"/>
                <a:gd name="connsiteY29" fmla="*/ 1781166 h 2843366"/>
                <a:gd name="connsiteX30" fmla="*/ 2843366 w 2843366"/>
                <a:gd name="connsiteY30" fmla="*/ 1708038 h 2843366"/>
                <a:gd name="connsiteX31" fmla="*/ 2843366 w 2843366"/>
                <a:gd name="connsiteY31" fmla="*/ 1135333 h 2843366"/>
                <a:gd name="connsiteX32" fmla="*/ 2640269 w 2843366"/>
                <a:gd name="connsiteY32" fmla="*/ 1541523 h 2843366"/>
                <a:gd name="connsiteX33" fmla="*/ 2318067 w 2843366"/>
                <a:gd name="connsiteY33" fmla="*/ 1605994 h 2843366"/>
                <a:gd name="connsiteX34" fmla="*/ 2301413 w 2843366"/>
                <a:gd name="connsiteY34" fmla="*/ 1666327 h 2843366"/>
                <a:gd name="connsiteX35" fmla="*/ 2216823 w 2843366"/>
                <a:gd name="connsiteY35" fmla="*/ 1871113 h 2843366"/>
                <a:gd name="connsiteX36" fmla="*/ 2185927 w 2843366"/>
                <a:gd name="connsiteY36" fmla="*/ 1925556 h 2843366"/>
                <a:gd name="connsiteX37" fmla="*/ 2368004 w 2843366"/>
                <a:gd name="connsiteY37" fmla="*/ 2198620 h 2843366"/>
                <a:gd name="connsiteX38" fmla="*/ 2198620 w 2843366"/>
                <a:gd name="connsiteY38" fmla="*/ 2368105 h 2843366"/>
                <a:gd name="connsiteX39" fmla="*/ 1925467 w 2843366"/>
                <a:gd name="connsiteY39" fmla="*/ 2186028 h 2843366"/>
                <a:gd name="connsiteX40" fmla="*/ 1871113 w 2843366"/>
                <a:gd name="connsiteY40" fmla="*/ 2216823 h 2843366"/>
                <a:gd name="connsiteX41" fmla="*/ 1666136 w 2843366"/>
                <a:gd name="connsiteY41" fmla="*/ 2301515 h 2843366"/>
                <a:gd name="connsiteX42" fmla="*/ 1605893 w 2843366"/>
                <a:gd name="connsiteY42" fmla="*/ 2318169 h 2843366"/>
                <a:gd name="connsiteX43" fmla="*/ 1541625 w 2843366"/>
                <a:gd name="connsiteY43" fmla="*/ 2640269 h 2843366"/>
                <a:gd name="connsiteX44" fmla="*/ 1301843 w 2843366"/>
                <a:gd name="connsiteY44" fmla="*/ 2640269 h 2843366"/>
                <a:gd name="connsiteX45" fmla="*/ 1237474 w 2843366"/>
                <a:gd name="connsiteY45" fmla="*/ 2318169 h 2843366"/>
                <a:gd name="connsiteX46" fmla="*/ 1177230 w 2843366"/>
                <a:gd name="connsiteY46" fmla="*/ 2301515 h 2843366"/>
                <a:gd name="connsiteX47" fmla="*/ 972253 w 2843366"/>
                <a:gd name="connsiteY47" fmla="*/ 2216823 h 2843366"/>
                <a:gd name="connsiteX48" fmla="*/ 917912 w 2843366"/>
                <a:gd name="connsiteY48" fmla="*/ 2186028 h 2843366"/>
                <a:gd name="connsiteX49" fmla="*/ 644746 w 2843366"/>
                <a:gd name="connsiteY49" fmla="*/ 2368105 h 2843366"/>
                <a:gd name="connsiteX50" fmla="*/ 475363 w 2843366"/>
                <a:gd name="connsiteY50" fmla="*/ 2198620 h 2843366"/>
                <a:gd name="connsiteX51" fmla="*/ 657440 w 2843366"/>
                <a:gd name="connsiteY51" fmla="*/ 1925556 h 2843366"/>
                <a:gd name="connsiteX52" fmla="*/ 626543 w 2843366"/>
                <a:gd name="connsiteY52" fmla="*/ 1871113 h 2843366"/>
                <a:gd name="connsiteX53" fmla="*/ 541953 w 2843366"/>
                <a:gd name="connsiteY53" fmla="*/ 1666327 h 2843366"/>
                <a:gd name="connsiteX54" fmla="*/ 525299 w 2843366"/>
                <a:gd name="connsiteY54" fmla="*/ 1605994 h 2843366"/>
                <a:gd name="connsiteX55" fmla="*/ 203098 w 2843366"/>
                <a:gd name="connsiteY55" fmla="*/ 1541523 h 2843366"/>
                <a:gd name="connsiteX56" fmla="*/ 203098 w 2843366"/>
                <a:gd name="connsiteY56" fmla="*/ 1301843 h 2843366"/>
                <a:gd name="connsiteX57" fmla="*/ 525299 w 2843366"/>
                <a:gd name="connsiteY57" fmla="*/ 1237378 h 2843366"/>
                <a:gd name="connsiteX58" fmla="*/ 541953 w 2843366"/>
                <a:gd name="connsiteY58" fmla="*/ 1177034 h 2843366"/>
                <a:gd name="connsiteX59" fmla="*/ 626543 w 2843366"/>
                <a:gd name="connsiteY59" fmla="*/ 972251 h 2843366"/>
                <a:gd name="connsiteX60" fmla="*/ 657440 w 2843366"/>
                <a:gd name="connsiteY60" fmla="*/ 917807 h 2843366"/>
                <a:gd name="connsiteX61" fmla="*/ 475363 w 2843366"/>
                <a:gd name="connsiteY61" fmla="*/ 644746 h 2843366"/>
                <a:gd name="connsiteX62" fmla="*/ 644847 w 2843366"/>
                <a:gd name="connsiteY62" fmla="*/ 475266 h 2843366"/>
                <a:gd name="connsiteX63" fmla="*/ 917811 w 2843366"/>
                <a:gd name="connsiteY63" fmla="*/ 657240 h 2843366"/>
                <a:gd name="connsiteX64" fmla="*/ 972253 w 2843366"/>
                <a:gd name="connsiteY64" fmla="*/ 626449 h 2843366"/>
                <a:gd name="connsiteX65" fmla="*/ 1177230 w 2843366"/>
                <a:gd name="connsiteY65" fmla="*/ 541858 h 2843366"/>
                <a:gd name="connsiteX66" fmla="*/ 1237474 w 2843366"/>
                <a:gd name="connsiteY66" fmla="*/ 525198 h 2843366"/>
                <a:gd name="connsiteX67" fmla="*/ 1301741 w 2843366"/>
                <a:gd name="connsiteY67" fmla="*/ 203098 h 2843366"/>
                <a:gd name="connsiteX68" fmla="*/ 1541524 w 2843366"/>
                <a:gd name="connsiteY68" fmla="*/ 203098 h 2843366"/>
                <a:gd name="connsiteX69" fmla="*/ 1605893 w 2843366"/>
                <a:gd name="connsiteY69" fmla="*/ 525198 h 2843366"/>
                <a:gd name="connsiteX70" fmla="*/ 1666136 w 2843366"/>
                <a:gd name="connsiteY70" fmla="*/ 541858 h 2843366"/>
                <a:gd name="connsiteX71" fmla="*/ 1871113 w 2843366"/>
                <a:gd name="connsiteY71" fmla="*/ 626449 h 2843366"/>
                <a:gd name="connsiteX72" fmla="*/ 1925556 w 2843366"/>
                <a:gd name="connsiteY72" fmla="*/ 657240 h 2843366"/>
                <a:gd name="connsiteX73" fmla="*/ 2198519 w 2843366"/>
                <a:gd name="connsiteY73" fmla="*/ 475266 h 2843366"/>
                <a:gd name="connsiteX74" fmla="*/ 2368004 w 2843366"/>
                <a:gd name="connsiteY74" fmla="*/ 644746 h 2843366"/>
                <a:gd name="connsiteX75" fmla="*/ 2185927 w 2843366"/>
                <a:gd name="connsiteY75" fmla="*/ 917807 h 2843366"/>
                <a:gd name="connsiteX76" fmla="*/ 2216823 w 2843366"/>
                <a:gd name="connsiteY76" fmla="*/ 972251 h 2843366"/>
                <a:gd name="connsiteX77" fmla="*/ 2301413 w 2843366"/>
                <a:gd name="connsiteY77" fmla="*/ 1177034 h 2843366"/>
                <a:gd name="connsiteX78" fmla="*/ 2318067 w 2843366"/>
                <a:gd name="connsiteY78" fmla="*/ 1237378 h 2843366"/>
                <a:gd name="connsiteX79" fmla="*/ 2640269 w 2843366"/>
                <a:gd name="connsiteY79" fmla="*/ 1301843 h 284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2843366" h="2843366">
                  <a:moveTo>
                    <a:pt x="2478527" y="1062296"/>
                  </a:moveTo>
                  <a:cubicBezTo>
                    <a:pt x="2462952" y="1016281"/>
                    <a:pt x="2444457" y="971407"/>
                    <a:pt x="2423145" y="928170"/>
                  </a:cubicBezTo>
                  <a:lnTo>
                    <a:pt x="2629416" y="618862"/>
                  </a:lnTo>
                  <a:lnTo>
                    <a:pt x="2224503" y="213957"/>
                  </a:lnTo>
                  <a:lnTo>
                    <a:pt x="1915096" y="420129"/>
                  </a:lnTo>
                  <a:cubicBezTo>
                    <a:pt x="1871862" y="398907"/>
                    <a:pt x="1827091" y="380412"/>
                    <a:pt x="1780975" y="364743"/>
                  </a:cubicBezTo>
                  <a:lnTo>
                    <a:pt x="1707936" y="0"/>
                  </a:lnTo>
                  <a:lnTo>
                    <a:pt x="1135328" y="0"/>
                  </a:lnTo>
                  <a:lnTo>
                    <a:pt x="1062302" y="364743"/>
                  </a:lnTo>
                  <a:cubicBezTo>
                    <a:pt x="1016186" y="380412"/>
                    <a:pt x="971314" y="398907"/>
                    <a:pt x="928169" y="420129"/>
                  </a:cubicBezTo>
                  <a:lnTo>
                    <a:pt x="618711" y="213957"/>
                  </a:lnTo>
                  <a:lnTo>
                    <a:pt x="213862" y="618862"/>
                  </a:lnTo>
                  <a:lnTo>
                    <a:pt x="420133" y="928170"/>
                  </a:lnTo>
                  <a:cubicBezTo>
                    <a:pt x="398757" y="971407"/>
                    <a:pt x="380313" y="1016281"/>
                    <a:pt x="364738" y="1062296"/>
                  </a:cubicBezTo>
                  <a:lnTo>
                    <a:pt x="0" y="1135333"/>
                  </a:lnTo>
                  <a:lnTo>
                    <a:pt x="0" y="1708038"/>
                  </a:lnTo>
                  <a:lnTo>
                    <a:pt x="364839" y="1781077"/>
                  </a:lnTo>
                  <a:cubicBezTo>
                    <a:pt x="380414" y="1827091"/>
                    <a:pt x="398909" y="1871963"/>
                    <a:pt x="420222" y="1915198"/>
                  </a:cubicBezTo>
                  <a:lnTo>
                    <a:pt x="213951" y="2224503"/>
                  </a:lnTo>
                  <a:lnTo>
                    <a:pt x="618965" y="2629416"/>
                  </a:lnTo>
                  <a:lnTo>
                    <a:pt x="928270" y="2423145"/>
                  </a:lnTo>
                  <a:cubicBezTo>
                    <a:pt x="971505" y="2444356"/>
                    <a:pt x="1016287" y="2462952"/>
                    <a:pt x="1062391" y="2478527"/>
                  </a:cubicBezTo>
                  <a:lnTo>
                    <a:pt x="1135430" y="2843366"/>
                  </a:lnTo>
                  <a:lnTo>
                    <a:pt x="1708038" y="2843366"/>
                  </a:lnTo>
                  <a:lnTo>
                    <a:pt x="1781077" y="2478628"/>
                  </a:lnTo>
                  <a:cubicBezTo>
                    <a:pt x="1827180" y="2462952"/>
                    <a:pt x="1872052" y="2444457"/>
                    <a:pt x="1915198" y="2423233"/>
                  </a:cubicBezTo>
                  <a:lnTo>
                    <a:pt x="2224503" y="2629504"/>
                  </a:lnTo>
                  <a:lnTo>
                    <a:pt x="2629505" y="2224655"/>
                  </a:lnTo>
                  <a:lnTo>
                    <a:pt x="2423234" y="1915299"/>
                  </a:lnTo>
                  <a:cubicBezTo>
                    <a:pt x="2444610" y="1872052"/>
                    <a:pt x="2463053" y="1827180"/>
                    <a:pt x="2478628" y="1781166"/>
                  </a:cubicBezTo>
                  <a:lnTo>
                    <a:pt x="2843366" y="1708038"/>
                  </a:lnTo>
                  <a:lnTo>
                    <a:pt x="2843366" y="1135333"/>
                  </a:lnTo>
                  <a:close/>
                  <a:moveTo>
                    <a:pt x="2640269" y="1541523"/>
                  </a:moveTo>
                  <a:lnTo>
                    <a:pt x="2318067" y="1605994"/>
                  </a:lnTo>
                  <a:lnTo>
                    <a:pt x="2301413" y="1666327"/>
                  </a:lnTo>
                  <a:cubicBezTo>
                    <a:pt x="2281472" y="1738236"/>
                    <a:pt x="2253063" y="1807150"/>
                    <a:pt x="2216823" y="1871113"/>
                  </a:cubicBezTo>
                  <a:lnTo>
                    <a:pt x="2185927" y="1925556"/>
                  </a:lnTo>
                  <a:lnTo>
                    <a:pt x="2368004" y="2198620"/>
                  </a:lnTo>
                  <a:lnTo>
                    <a:pt x="2198620" y="2368105"/>
                  </a:lnTo>
                  <a:lnTo>
                    <a:pt x="1925467" y="2186028"/>
                  </a:lnTo>
                  <a:lnTo>
                    <a:pt x="1871113" y="2216823"/>
                  </a:lnTo>
                  <a:cubicBezTo>
                    <a:pt x="1807454" y="2252962"/>
                    <a:pt x="1738427" y="2281383"/>
                    <a:pt x="1666136" y="2301515"/>
                  </a:cubicBezTo>
                  <a:lnTo>
                    <a:pt x="1605893" y="2318169"/>
                  </a:lnTo>
                  <a:lnTo>
                    <a:pt x="1541625" y="2640269"/>
                  </a:lnTo>
                  <a:lnTo>
                    <a:pt x="1301843" y="2640269"/>
                  </a:lnTo>
                  <a:lnTo>
                    <a:pt x="1237474" y="2318169"/>
                  </a:lnTo>
                  <a:lnTo>
                    <a:pt x="1177230" y="2301515"/>
                  </a:lnTo>
                  <a:cubicBezTo>
                    <a:pt x="1104940" y="2281383"/>
                    <a:pt x="1035912" y="2252962"/>
                    <a:pt x="972253" y="2216823"/>
                  </a:cubicBezTo>
                  <a:lnTo>
                    <a:pt x="917912" y="2186028"/>
                  </a:lnTo>
                  <a:lnTo>
                    <a:pt x="644746" y="2368105"/>
                  </a:lnTo>
                  <a:lnTo>
                    <a:pt x="475363" y="2198620"/>
                  </a:lnTo>
                  <a:lnTo>
                    <a:pt x="657440" y="1925556"/>
                  </a:lnTo>
                  <a:lnTo>
                    <a:pt x="626543" y="1871113"/>
                  </a:lnTo>
                  <a:cubicBezTo>
                    <a:pt x="590303" y="1807150"/>
                    <a:pt x="561895" y="1738236"/>
                    <a:pt x="541953" y="1666327"/>
                  </a:cubicBezTo>
                  <a:lnTo>
                    <a:pt x="525299" y="1605994"/>
                  </a:lnTo>
                  <a:lnTo>
                    <a:pt x="203098" y="1541523"/>
                  </a:lnTo>
                  <a:lnTo>
                    <a:pt x="203098" y="1301843"/>
                  </a:lnTo>
                  <a:lnTo>
                    <a:pt x="525299" y="1237378"/>
                  </a:lnTo>
                  <a:lnTo>
                    <a:pt x="541953" y="1177034"/>
                  </a:lnTo>
                  <a:cubicBezTo>
                    <a:pt x="561895" y="1105137"/>
                    <a:pt x="590303" y="1036214"/>
                    <a:pt x="626543" y="972251"/>
                  </a:cubicBezTo>
                  <a:lnTo>
                    <a:pt x="657440" y="917807"/>
                  </a:lnTo>
                  <a:lnTo>
                    <a:pt x="475363" y="644746"/>
                  </a:lnTo>
                  <a:lnTo>
                    <a:pt x="644847" y="475266"/>
                  </a:lnTo>
                  <a:lnTo>
                    <a:pt x="917811" y="657240"/>
                  </a:lnTo>
                  <a:lnTo>
                    <a:pt x="972253" y="626449"/>
                  </a:lnTo>
                  <a:cubicBezTo>
                    <a:pt x="1035912" y="590401"/>
                    <a:pt x="1104940" y="561890"/>
                    <a:pt x="1177230" y="541858"/>
                  </a:cubicBezTo>
                  <a:lnTo>
                    <a:pt x="1237474" y="525198"/>
                  </a:lnTo>
                  <a:lnTo>
                    <a:pt x="1301741" y="203098"/>
                  </a:lnTo>
                  <a:lnTo>
                    <a:pt x="1541524" y="203098"/>
                  </a:lnTo>
                  <a:lnTo>
                    <a:pt x="1605893" y="525198"/>
                  </a:lnTo>
                  <a:lnTo>
                    <a:pt x="1666136" y="541858"/>
                  </a:lnTo>
                  <a:cubicBezTo>
                    <a:pt x="1738427" y="561989"/>
                    <a:pt x="1807454" y="590401"/>
                    <a:pt x="1871113" y="626449"/>
                  </a:cubicBezTo>
                  <a:lnTo>
                    <a:pt x="1925556" y="657240"/>
                  </a:lnTo>
                  <a:lnTo>
                    <a:pt x="2198519" y="475266"/>
                  </a:lnTo>
                  <a:lnTo>
                    <a:pt x="2368004" y="644746"/>
                  </a:lnTo>
                  <a:lnTo>
                    <a:pt x="2185927" y="917807"/>
                  </a:lnTo>
                  <a:lnTo>
                    <a:pt x="2216823" y="972251"/>
                  </a:lnTo>
                  <a:cubicBezTo>
                    <a:pt x="2253063" y="1036214"/>
                    <a:pt x="2281472" y="1105137"/>
                    <a:pt x="2301413" y="1177034"/>
                  </a:cubicBezTo>
                  <a:lnTo>
                    <a:pt x="2318067" y="1237378"/>
                  </a:lnTo>
                  <a:lnTo>
                    <a:pt x="2640269" y="1301843"/>
                  </a:ln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0" name="Freeform: Shape 286">
              <a:extLst>
                <a:ext uri="{FF2B5EF4-FFF2-40B4-BE49-F238E27FC236}">
                  <a16:creationId xmlns:a16="http://schemas.microsoft.com/office/drawing/2014/main" id="{F2A5A0CF-2CAC-6949-A8F4-C4CB29BE9251}"/>
                </a:ext>
              </a:extLst>
            </p:cNvPr>
            <p:cNvSpPr/>
            <p:nvPr/>
          </p:nvSpPr>
          <p:spPr>
            <a:xfrm>
              <a:off x="5587487" y="991829"/>
              <a:ext cx="1421683" cy="1421683"/>
            </a:xfrm>
            <a:custGeom>
              <a:avLst/>
              <a:gdLst>
                <a:gd name="connsiteX0" fmla="*/ 710842 w 1421683"/>
                <a:gd name="connsiteY0" fmla="*/ 0 h 1421683"/>
                <a:gd name="connsiteX1" fmla="*/ 0 w 1421683"/>
                <a:gd name="connsiteY1" fmla="*/ 710842 h 1421683"/>
                <a:gd name="connsiteX2" fmla="*/ 710842 w 1421683"/>
                <a:gd name="connsiteY2" fmla="*/ 1421683 h 1421683"/>
                <a:gd name="connsiteX3" fmla="*/ 1421683 w 1421683"/>
                <a:gd name="connsiteY3" fmla="*/ 710842 h 1421683"/>
                <a:gd name="connsiteX4" fmla="*/ 710842 w 1421683"/>
                <a:gd name="connsiteY4" fmla="*/ 0 h 1421683"/>
                <a:gd name="connsiteX5" fmla="*/ 710842 w 1421683"/>
                <a:gd name="connsiteY5" fmla="*/ 1218586 h 1421683"/>
                <a:gd name="connsiteX6" fmla="*/ 203098 w 1421683"/>
                <a:gd name="connsiteY6" fmla="*/ 710842 h 1421683"/>
                <a:gd name="connsiteX7" fmla="*/ 710842 w 1421683"/>
                <a:gd name="connsiteY7" fmla="*/ 203098 h 1421683"/>
                <a:gd name="connsiteX8" fmla="*/ 1218586 w 1421683"/>
                <a:gd name="connsiteY8" fmla="*/ 710842 h 1421683"/>
                <a:gd name="connsiteX9" fmla="*/ 710842 w 1421683"/>
                <a:gd name="connsiteY9" fmla="*/ 1218586 h 1421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1683" h="1421683">
                  <a:moveTo>
                    <a:pt x="710842" y="0"/>
                  </a:moveTo>
                  <a:cubicBezTo>
                    <a:pt x="318977" y="0"/>
                    <a:pt x="0" y="318877"/>
                    <a:pt x="0" y="710842"/>
                  </a:cubicBezTo>
                  <a:cubicBezTo>
                    <a:pt x="0" y="1102807"/>
                    <a:pt x="318977" y="1421683"/>
                    <a:pt x="710842" y="1421683"/>
                  </a:cubicBezTo>
                  <a:cubicBezTo>
                    <a:pt x="1102706" y="1421683"/>
                    <a:pt x="1421683" y="1102807"/>
                    <a:pt x="1421683" y="710842"/>
                  </a:cubicBezTo>
                  <a:cubicBezTo>
                    <a:pt x="1421683" y="318877"/>
                    <a:pt x="1102706" y="0"/>
                    <a:pt x="710842" y="0"/>
                  </a:cubicBezTo>
                  <a:close/>
                  <a:moveTo>
                    <a:pt x="710842" y="1218586"/>
                  </a:moveTo>
                  <a:cubicBezTo>
                    <a:pt x="430884" y="1218586"/>
                    <a:pt x="203098" y="990799"/>
                    <a:pt x="203098" y="710842"/>
                  </a:cubicBezTo>
                  <a:cubicBezTo>
                    <a:pt x="203098" y="430888"/>
                    <a:pt x="430884" y="203098"/>
                    <a:pt x="710842" y="203098"/>
                  </a:cubicBezTo>
                  <a:cubicBezTo>
                    <a:pt x="990799" y="203098"/>
                    <a:pt x="1218586" y="430888"/>
                    <a:pt x="1218586" y="710842"/>
                  </a:cubicBezTo>
                  <a:cubicBezTo>
                    <a:pt x="1218586" y="990799"/>
                    <a:pt x="990799" y="1218586"/>
                    <a:pt x="710842" y="1218586"/>
                  </a:cubicBezTo>
                  <a:close/>
                </a:path>
              </a:pathLst>
            </a:custGeom>
            <a:grpFill/>
            <a:ln w="126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126">
                <a:buClr>
                  <a:srgbClr val="000000"/>
                </a:buClr>
              </a:pPr>
              <a:endParaRPr lang="en-IN"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" name="Google Shape;375;p12">
            <a:extLst>
              <a:ext uri="{FF2B5EF4-FFF2-40B4-BE49-F238E27FC236}">
                <a16:creationId xmlns:a16="http://schemas.microsoft.com/office/drawing/2014/main" id="{22934DAB-7C4C-DE27-62FD-FAE9876E44B0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┃   www.oep.fi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689A05C-4824-5EAC-6F7D-123F6513C851}"/>
              </a:ext>
            </a:extLst>
          </p:cNvPr>
          <p:cNvSpPr/>
          <p:nvPr/>
        </p:nvSpPr>
        <p:spPr>
          <a:xfrm>
            <a:off x="3227759" y="3936625"/>
            <a:ext cx="219270" cy="49841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187A86F7-2ABD-D79D-2A62-743D9C692B29}"/>
              </a:ext>
            </a:extLst>
          </p:cNvPr>
          <p:cNvSpPr/>
          <p:nvPr/>
        </p:nvSpPr>
        <p:spPr>
          <a:xfrm>
            <a:off x="6021826" y="3948089"/>
            <a:ext cx="219270" cy="49841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2073732-B94E-99FA-39A0-3B201C6E2201}"/>
              </a:ext>
            </a:extLst>
          </p:cNvPr>
          <p:cNvSpPr/>
          <p:nvPr/>
        </p:nvSpPr>
        <p:spPr>
          <a:xfrm>
            <a:off x="8785054" y="3929924"/>
            <a:ext cx="219270" cy="49841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006685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>
            <a:extLst>
              <a:ext uri="{FF2B5EF4-FFF2-40B4-BE49-F238E27FC236}">
                <a16:creationId xmlns:a16="http://schemas.microsoft.com/office/drawing/2014/main" id="{8EDAED2E-0000-4BB7-B04E-9AE81F5B8426}"/>
              </a:ext>
            </a:extLst>
          </p:cNvPr>
          <p:cNvSpPr txBox="1"/>
          <p:nvPr/>
        </p:nvSpPr>
        <p:spPr>
          <a:xfrm>
            <a:off x="837621" y="288289"/>
            <a:ext cx="105151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THE OEP BLUEPRINT OF EXCELLENCE FOR VET</a:t>
            </a:r>
          </a:p>
        </p:txBody>
      </p:sp>
      <p:pic>
        <p:nvPicPr>
          <p:cNvPr id="4" name="Kuva 12" descr="Kuva, joka sisältää kohteen teksti, kuvakaappaus, Sähkönsininen, Majorellen sininen&#10;&#10;Kuvaus luotu automaattisesti">
            <a:extLst>
              <a:ext uri="{FF2B5EF4-FFF2-40B4-BE49-F238E27FC236}">
                <a16:creationId xmlns:a16="http://schemas.microsoft.com/office/drawing/2014/main" id="{2116DEF0-274C-DEFA-B0FA-BCAA969AC7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236" y="1168699"/>
            <a:ext cx="5710351" cy="50844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BCA24AE-7620-DC7B-4930-8C346BAFD07E}"/>
              </a:ext>
            </a:extLst>
          </p:cNvPr>
          <p:cNvSpPr txBox="1"/>
          <p:nvPr/>
        </p:nvSpPr>
        <p:spPr>
          <a:xfrm>
            <a:off x="914937" y="2660024"/>
            <a:ext cx="2309299" cy="12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56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SYSTEMS AND PROCESSES</a:t>
            </a:r>
          </a:p>
          <a:p>
            <a:pPr algn="r"/>
            <a:r>
              <a:rPr lang="en-GB" sz="116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.g., quality assurance, data management, enrolment process, reporting</a:t>
            </a:r>
          </a:p>
          <a:p>
            <a:pPr algn="r"/>
            <a:endParaRPr lang="en-FI" sz="1277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5B5EF1-31A4-746A-472B-28C0769CC77C}"/>
              </a:ext>
            </a:extLst>
          </p:cNvPr>
          <p:cNvSpPr txBox="1"/>
          <p:nvPr/>
        </p:nvSpPr>
        <p:spPr>
          <a:xfrm>
            <a:off x="652179" y="4108466"/>
            <a:ext cx="2572057" cy="12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56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HUMAN </a:t>
            </a:r>
          </a:p>
          <a:p>
            <a:pPr algn="r"/>
            <a:r>
              <a:rPr lang="en-GB" sz="1356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RESOURCES</a:t>
            </a:r>
          </a:p>
          <a:p>
            <a:pPr algn="r"/>
            <a:r>
              <a:rPr lang="en-GB" sz="116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.g., staffing plan, teacher development plans, roles and responsibilities</a:t>
            </a:r>
          </a:p>
          <a:p>
            <a:pPr algn="r"/>
            <a:endParaRPr lang="en-GB" sz="1277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2F1078-0C78-9700-DB57-082491DE5E5D}"/>
              </a:ext>
            </a:extLst>
          </p:cNvPr>
          <p:cNvSpPr txBox="1"/>
          <p:nvPr/>
        </p:nvSpPr>
        <p:spPr>
          <a:xfrm>
            <a:off x="9018803" y="4888609"/>
            <a:ext cx="2406935" cy="12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6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INFRASTRUCTURE</a:t>
            </a:r>
          </a:p>
          <a:p>
            <a:r>
              <a:rPr lang="en-GB" sz="116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.g., physical learning environments, equipment and tools, shared spaces with industry</a:t>
            </a:r>
          </a:p>
          <a:p>
            <a:endParaRPr lang="en-GB" sz="1277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C83620-C29D-3A3C-7FF4-4213702124DE}"/>
              </a:ext>
            </a:extLst>
          </p:cNvPr>
          <p:cNvSpPr txBox="1"/>
          <p:nvPr/>
        </p:nvSpPr>
        <p:spPr>
          <a:xfrm>
            <a:off x="9018803" y="3517760"/>
            <a:ext cx="2699662" cy="12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6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PEDAGOGICAL LANDSCAPE</a:t>
            </a:r>
          </a:p>
          <a:p>
            <a:r>
              <a:rPr lang="en-GB" sz="116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.g., qualifications, micro-credentials</a:t>
            </a:r>
            <a:br>
              <a:rPr lang="en-GB" sz="116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GB" sz="116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MS, digital tools, learning modalities, work-based learning, career and guidance services</a:t>
            </a:r>
          </a:p>
          <a:p>
            <a:endParaRPr lang="en-FI" sz="1277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FE5B90-519A-0C4C-3C63-4AE4F19828A1}"/>
              </a:ext>
            </a:extLst>
          </p:cNvPr>
          <p:cNvSpPr txBox="1"/>
          <p:nvPr/>
        </p:nvSpPr>
        <p:spPr>
          <a:xfrm>
            <a:off x="9020986" y="2168018"/>
            <a:ext cx="2562974" cy="12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6" b="1" dirty="0">
                <a:solidFill>
                  <a:srgbClr val="003580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STAKEHOLDER COLLABORATION</a:t>
            </a:r>
          </a:p>
          <a:p>
            <a:r>
              <a:rPr lang="en-GB" sz="116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.g., agreements, industry partnerships, research and innovation projects </a:t>
            </a:r>
            <a:endParaRPr lang="en-FI" sz="116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FI" sz="1277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Google Shape;139;p5">
            <a:extLst>
              <a:ext uri="{FF2B5EF4-FFF2-40B4-BE49-F238E27FC236}">
                <a16:creationId xmlns:a16="http://schemas.microsoft.com/office/drawing/2014/main" id="{5832A980-28B3-897E-1BD8-1B3A517BD0E7}"/>
              </a:ext>
            </a:extLst>
          </p:cNvPr>
          <p:cNvSpPr txBox="1"/>
          <p:nvPr/>
        </p:nvSpPr>
        <p:spPr>
          <a:xfrm>
            <a:off x="2204" y="6462315"/>
            <a:ext cx="12186005" cy="365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92" tIns="45683" rIns="91392" bIns="45683" anchor="t" anchorCtr="0">
            <a:noAutofit/>
          </a:bodyPr>
          <a:lstStyle/>
          <a:p>
            <a:pPr algn="ctr" defTabSz="914126">
              <a:buClr>
                <a:srgbClr val="000000"/>
              </a:buClr>
              <a:buSzPts val="1400"/>
            </a:pPr>
            <a:r>
              <a:rPr lang="en-US" sz="1000" kern="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© Omnia Education Partnerships Ltd. 2024  ┃   www.oep.fi</a:t>
            </a:r>
            <a:endParaRPr sz="1000" kern="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854491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Office Theme">
  <a:themeElements>
    <a:clrScheme name="Custom 4">
      <a:dk1>
        <a:srgbClr val="000000"/>
      </a:dk1>
      <a:lt1>
        <a:srgbClr val="FFFFFF"/>
      </a:lt1>
      <a:dk2>
        <a:srgbClr val="242852"/>
      </a:dk2>
      <a:lt2>
        <a:srgbClr val="FFFEFF"/>
      </a:lt2>
      <a:accent1>
        <a:srgbClr val="00347F"/>
      </a:accent1>
      <a:accent2>
        <a:srgbClr val="FFFEFF"/>
      </a:accent2>
      <a:accent3>
        <a:srgbClr val="000000"/>
      </a:accent3>
      <a:accent4>
        <a:srgbClr val="7F8FA9"/>
      </a:accent4>
      <a:accent5>
        <a:srgbClr val="02327B"/>
      </a:accent5>
      <a:accent6>
        <a:srgbClr val="9D90A0"/>
      </a:accent6>
      <a:hlink>
        <a:srgbClr val="01337C"/>
      </a:hlink>
      <a:folHlink>
        <a:srgbClr val="619C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 Theme">
  <a:themeElements>
    <a:clrScheme name="Custom 4">
      <a:dk1>
        <a:srgbClr val="000000"/>
      </a:dk1>
      <a:lt1>
        <a:srgbClr val="FFFFFF"/>
      </a:lt1>
      <a:dk2>
        <a:srgbClr val="242852"/>
      </a:dk2>
      <a:lt2>
        <a:srgbClr val="FFFEFF"/>
      </a:lt2>
      <a:accent1>
        <a:srgbClr val="00347F"/>
      </a:accent1>
      <a:accent2>
        <a:srgbClr val="FFFEFF"/>
      </a:accent2>
      <a:accent3>
        <a:srgbClr val="000000"/>
      </a:accent3>
      <a:accent4>
        <a:srgbClr val="7F8FA9"/>
      </a:accent4>
      <a:accent5>
        <a:srgbClr val="02327B"/>
      </a:accent5>
      <a:accent6>
        <a:srgbClr val="9D90A0"/>
      </a:accent6>
      <a:hlink>
        <a:srgbClr val="01337C"/>
      </a:hlink>
      <a:folHlink>
        <a:srgbClr val="619C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6DC9C7624433469DC6522161B8CF60" ma:contentTypeVersion="18" ma:contentTypeDescription="Create a new document." ma:contentTypeScope="" ma:versionID="41f77b4c54961649dfed20d69d7d2513">
  <xsd:schema xmlns:xsd="http://www.w3.org/2001/XMLSchema" xmlns:xs="http://www.w3.org/2001/XMLSchema" xmlns:p="http://schemas.microsoft.com/office/2006/metadata/properties" xmlns:ns2="77521de8-fda9-48a7-aa01-4a42d4d6dd17" xmlns:ns3="75eb83a7-9def-46c5-ba21-4637b2c071e8" targetNamespace="http://schemas.microsoft.com/office/2006/metadata/properties" ma:root="true" ma:fieldsID="d2e989a75891ad22119a7647f0bca92e" ns2:_="" ns3:_="">
    <xsd:import namespace="77521de8-fda9-48a7-aa01-4a42d4d6dd17"/>
    <xsd:import namespace="75eb83a7-9def-46c5-ba21-4637b2c071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21de8-fda9-48a7-aa01-4a42d4d6dd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010ffe1f-c839-4a66-9ae8-9a2945e491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7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eb83a7-9def-46c5-ba21-4637b2c071e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0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2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2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25" nillable="true" ma:displayName="Taxonomy Catch All Column" ma:hidden="true" ma:list="{3aed79b1-a62e-40a7-9adc-665081f823b1}" ma:internalName="TaxCatchAll" ma:showField="CatchAllData" ma:web="75eb83a7-9def-46c5-ba21-4637b2c071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7521de8-fda9-48a7-aa01-4a42d4d6dd17">
      <Terms xmlns="http://schemas.microsoft.com/office/infopath/2007/PartnerControls"/>
    </lcf76f155ced4ddcb4097134ff3c332f>
    <TaxCatchAll xmlns="75eb83a7-9def-46c5-ba21-4637b2c071e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218DC7B-F34F-4285-9F84-12F300204441}"/>
</file>

<file path=customXml/itemProps2.xml><?xml version="1.0" encoding="utf-8"?>
<ds:datastoreItem xmlns:ds="http://schemas.openxmlformats.org/officeDocument/2006/customXml" ds:itemID="{832A377A-DB9F-42CA-AA18-3B69B180B9B0}">
  <ds:schemaRefs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d0a92b1a-adf2-4534-b209-8f96cb2764cd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94269B9-E19D-4920-A491-B83C07FE2A72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B3FF777-DF7C-4CD1-AEA2-294D3753126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458</TotalTime>
  <Words>1264</Words>
  <Application>Microsoft Macintosh PowerPoint</Application>
  <PresentationFormat>Custom</PresentationFormat>
  <Paragraphs>271</Paragraphs>
  <Slides>1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Arial</vt:lpstr>
      <vt:lpstr>Open Sans ExtraBold</vt:lpstr>
      <vt:lpstr>Times New Roman</vt:lpstr>
      <vt:lpstr>Georgia</vt:lpstr>
      <vt:lpstr>Open Sans</vt:lpstr>
      <vt:lpstr>Calibri</vt:lpstr>
      <vt:lpstr>Open Sans ExtraBold</vt:lpstr>
      <vt:lpstr>Arial Black</vt:lpstr>
      <vt:lpstr>Calibri Light</vt:lpstr>
      <vt:lpstr>Symbol</vt:lpstr>
      <vt:lpstr>Office Theme</vt:lpstr>
      <vt:lpstr>5_Office Theme</vt:lpstr>
      <vt:lpstr>6_Office Theme</vt:lpstr>
      <vt:lpstr>think-cell Slide</vt:lpstr>
      <vt:lpstr>PowerPoint Presentation</vt:lpstr>
      <vt:lpstr>OEP - A PART OF THE OMNIA GROUP</vt:lpstr>
      <vt:lpstr>OEP MISSION &amp; VISION</vt:lpstr>
      <vt:lpstr>Strategic VET policies up to 2030 in Finland </vt:lpstr>
      <vt:lpstr>PowerPoint Presentation</vt:lpstr>
      <vt:lpstr>PowerPoint Presentation</vt:lpstr>
      <vt:lpstr>STRUCTURE OF FINNISH VET PROGRAMS</vt:lpstr>
      <vt:lpstr>THE VET LEARNING AND ASSESSMENT PROCESS  BUILDS ON NATIONAL QUALIFICATION REQUIREMENTS AND DIVERSE LEARNING ENVIRONMENTS</vt:lpstr>
      <vt:lpstr>PowerPoint Presentation</vt:lpstr>
      <vt:lpstr>OUR APPROACH </vt:lpstr>
      <vt:lpstr>APPLICATIONS OF THE MODEL - A VET EXCELLENCE AUDIT  </vt:lpstr>
      <vt:lpstr>360 Survey - Horizontal Layers</vt:lpstr>
      <vt:lpstr>360 Survey - Vertical Layers</vt:lpstr>
      <vt:lpstr>SOME KEY ELEMENTS OF SUCCESS FOR VET EXCELLENCE</vt:lpstr>
      <vt:lpstr>PowerPoint Presentation</vt:lpstr>
      <vt:lpstr>PowerPoint Presentation</vt:lpstr>
    </vt:vector>
  </TitlesOfParts>
  <Manager>You Exec (https://youexec.com/plus)</Manager>
  <Company>You Exec (https://youexec.com/plus)</Company>
  <LinksUpToDate>false</LinksUpToDate>
  <SharedDoc>false</SharedDoc>
  <HyperlinkBase>https://youexec.com/plus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/plus)</dc:title>
  <dc:subject>You Exec (https://youexec.com/plus)</dc:subject>
  <dc:creator>You Exec (https://youexec.com/plus)</dc:creator>
  <cp:keywords>You Exec (https:/youexec.com/plus)</cp:keywords>
  <dc:description>You Exec (https://youexec.com/plus)</dc:description>
  <cp:lastModifiedBy>Mervi Jansson</cp:lastModifiedBy>
  <cp:revision>529</cp:revision>
  <cp:lastPrinted>2020-02-21T12:44:11Z</cp:lastPrinted>
  <dcterms:created xsi:type="dcterms:W3CDTF">2016-03-15T10:14:04Z</dcterms:created>
  <dcterms:modified xsi:type="dcterms:W3CDTF">2024-01-23T06:33:32Z</dcterms:modified>
  <cp:category>You Exec (https://youexec.com/plus)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6827D16C48B24098A235852774DCC5</vt:lpwstr>
  </property>
</Properties>
</file>